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gif" ContentType="image/gif"/>
  <Default Extension="jpeg" ContentType="image/jpeg"/>
  <Default Extension="mp4" ContentType="video/mp4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av" ContentType="audio/x-wav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2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theme/theme3.xml" ContentType="application/vnd.openxmlformats-officedocument.theme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theme/theme4.xml" ContentType="application/vnd.openxmlformats-officedocument.theme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theme/theme5.xml" ContentType="application/vnd.openxmlformats-officedocument.theme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theme/theme6.xml" ContentType="application/vnd.openxmlformats-officedocument.theme+xml"/>
  <Override PartName="/ppt/tags/tag1.xml" ContentType="application/vnd.openxmlformats-officedocument.presentationml.tags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slideLayouts/slideLayout209.xml" ContentType="application/vnd.openxmlformats-officedocument.presentationml.slideLayout+xml"/>
  <Override PartName="/ppt/slideLayouts/slideLayout210.xml" ContentType="application/vnd.openxmlformats-officedocument.presentationml.slideLayout+xml"/>
  <Override PartName="/ppt/slideLayouts/slideLayout211.xml" ContentType="application/vnd.openxmlformats-officedocument.presentationml.slideLayout+xml"/>
  <Override PartName="/ppt/slideLayouts/slideLayout212.xml" ContentType="application/vnd.openxmlformats-officedocument.presentationml.slideLayout+xml"/>
  <Override PartName="/ppt/slideLayouts/slideLayout213.xml" ContentType="application/vnd.openxmlformats-officedocument.presentationml.slideLayout+xml"/>
  <Override PartName="/ppt/slideLayouts/slideLayout214.xml" ContentType="application/vnd.openxmlformats-officedocument.presentationml.slideLayout+xml"/>
  <Override PartName="/ppt/slideLayouts/slideLayout215.xml" ContentType="application/vnd.openxmlformats-officedocument.presentationml.slideLayout+xml"/>
  <Override PartName="/ppt/slideLayouts/slideLayout216.xml" ContentType="application/vnd.openxmlformats-officedocument.presentationml.slideLayout+xml"/>
  <Override PartName="/ppt/slideLayouts/slideLayout217.xml" ContentType="application/vnd.openxmlformats-officedocument.presentationml.slideLayout+xml"/>
  <Override PartName="/ppt/slideLayouts/slideLayout218.xml" ContentType="application/vnd.openxmlformats-officedocument.presentationml.slideLayout+xml"/>
  <Override PartName="/ppt/slideLayouts/slideLayout219.xml" ContentType="application/vnd.openxmlformats-officedocument.presentationml.slideLayout+xml"/>
  <Override PartName="/ppt/slideLayouts/slideLayout220.xml" ContentType="application/vnd.openxmlformats-officedocument.presentationml.slideLayout+xml"/>
  <Override PartName="/ppt/slideLayouts/slideLayout221.xml" ContentType="application/vnd.openxmlformats-officedocument.presentationml.slideLayout+xml"/>
  <Override PartName="/ppt/slideLayouts/slideLayout222.xml" ContentType="application/vnd.openxmlformats-officedocument.presentationml.slideLayout+xml"/>
  <Override PartName="/ppt/slideLayouts/slideLayout223.xml" ContentType="application/vnd.openxmlformats-officedocument.presentationml.slideLayout+xml"/>
  <Override PartName="/ppt/slideLayouts/slideLayout224.xml" ContentType="application/vnd.openxmlformats-officedocument.presentationml.slideLayout+xml"/>
  <Override PartName="/ppt/slideLayouts/slideLayout225.xml" ContentType="application/vnd.openxmlformats-officedocument.presentationml.slideLayout+xml"/>
  <Override PartName="/ppt/slideLayouts/slideLayout226.xml" ContentType="application/vnd.openxmlformats-officedocument.presentationml.slideLayout+xml"/>
  <Override PartName="/ppt/slideLayouts/slideLayout227.xml" ContentType="application/vnd.openxmlformats-officedocument.presentationml.slideLayout+xml"/>
  <Override PartName="/ppt/slideLayouts/slideLayout228.xml" ContentType="application/vnd.openxmlformats-officedocument.presentationml.slideLayout+xml"/>
  <Override PartName="/ppt/slideLayouts/slideLayout229.xml" ContentType="application/vnd.openxmlformats-officedocument.presentationml.slideLayout+xml"/>
  <Override PartName="/ppt/slideLayouts/slideLayout230.xml" ContentType="application/vnd.openxmlformats-officedocument.presentationml.slideLayout+xml"/>
  <Override PartName="/ppt/slideLayouts/slideLayout231.xml" ContentType="application/vnd.openxmlformats-officedocument.presentationml.slideLayout+xml"/>
  <Override PartName="/ppt/slideLayouts/slideLayout232.xml" ContentType="application/vnd.openxmlformats-officedocument.presentationml.slideLayout+xml"/>
  <Override PartName="/ppt/slideLayouts/slideLayout233.xml" ContentType="application/vnd.openxmlformats-officedocument.presentationml.slideLayout+xml"/>
  <Override PartName="/ppt/slideLayouts/slideLayout234.xml" ContentType="application/vnd.openxmlformats-officedocument.presentationml.slideLayout+xml"/>
  <Override PartName="/ppt/slideLayouts/slideLayout235.xml" ContentType="application/vnd.openxmlformats-officedocument.presentationml.slideLayout+xml"/>
  <Override PartName="/ppt/slideLayouts/slideLayout236.xml" ContentType="application/vnd.openxmlformats-officedocument.presentationml.slideLayout+xml"/>
  <Override PartName="/ppt/slideLayouts/slideLayout237.xml" ContentType="application/vnd.openxmlformats-officedocument.presentationml.slideLayout+xml"/>
  <Override PartName="/ppt/slideLayouts/slideLayout238.xml" ContentType="application/vnd.openxmlformats-officedocument.presentationml.slideLayout+xml"/>
  <Override PartName="/ppt/slideLayouts/slideLayout239.xml" ContentType="application/vnd.openxmlformats-officedocument.presentationml.slideLayout+xml"/>
  <Override PartName="/ppt/slideLayouts/slideLayout240.xml" ContentType="application/vnd.openxmlformats-officedocument.presentationml.slideLayout+xml"/>
  <Override PartName="/ppt/slideLayouts/slideLayout241.xml" ContentType="application/vnd.openxmlformats-officedocument.presentationml.slideLayout+xml"/>
  <Override PartName="/ppt/slideLayouts/slideLayout242.xml" ContentType="application/vnd.openxmlformats-officedocument.presentationml.slideLayout+xml"/>
  <Override PartName="/ppt/theme/theme7.xml" ContentType="application/vnd.openxmlformats-officedocument.theme+xml"/>
  <Override PartName="/ppt/slideLayouts/slideLayout243.xml" ContentType="application/vnd.openxmlformats-officedocument.presentationml.slideLayout+xml"/>
  <Override PartName="/ppt/slideLayouts/slideLayout244.xml" ContentType="application/vnd.openxmlformats-officedocument.presentationml.slideLayout+xml"/>
  <Override PartName="/ppt/slideLayouts/slideLayout245.xml" ContentType="application/vnd.openxmlformats-officedocument.presentationml.slideLayout+xml"/>
  <Override PartName="/ppt/slideLayouts/slideLayout246.xml" ContentType="application/vnd.openxmlformats-officedocument.presentationml.slideLayout+xml"/>
  <Override PartName="/ppt/slideLayouts/slideLayout247.xml" ContentType="application/vnd.openxmlformats-officedocument.presentationml.slideLayout+xml"/>
  <Override PartName="/ppt/slideLayouts/slideLayout248.xml" ContentType="application/vnd.openxmlformats-officedocument.presentationml.slideLayout+xml"/>
  <Override PartName="/ppt/slideLayouts/slideLayout249.xml" ContentType="application/vnd.openxmlformats-officedocument.presentationml.slideLayout+xml"/>
  <Override PartName="/ppt/slideLayouts/slideLayout250.xml" ContentType="application/vnd.openxmlformats-officedocument.presentationml.slideLayout+xml"/>
  <Override PartName="/ppt/slideLayouts/slideLayout251.xml" ContentType="application/vnd.openxmlformats-officedocument.presentationml.slideLayout+xml"/>
  <Override PartName="/ppt/slideLayouts/slideLayout252.xml" ContentType="application/vnd.openxmlformats-officedocument.presentationml.slideLayout+xml"/>
  <Override PartName="/ppt/slideLayouts/slideLayout253.xml" ContentType="application/vnd.openxmlformats-officedocument.presentationml.slideLayout+xml"/>
  <Override PartName="/ppt/slideLayouts/slideLayout254.xml" ContentType="application/vnd.openxmlformats-officedocument.presentationml.slideLayout+xml"/>
  <Override PartName="/ppt/slideLayouts/slideLayout255.xml" ContentType="application/vnd.openxmlformats-officedocument.presentationml.slideLayout+xml"/>
  <Override PartName="/ppt/slideLayouts/slideLayout256.xml" ContentType="application/vnd.openxmlformats-officedocument.presentationml.slideLayout+xml"/>
  <Override PartName="/ppt/slideLayouts/slideLayout257.xml" ContentType="application/vnd.openxmlformats-officedocument.presentationml.slideLayout+xml"/>
  <Override PartName="/ppt/slideLayouts/slideLayout258.xml" ContentType="application/vnd.openxmlformats-officedocument.presentationml.slideLayout+xml"/>
  <Override PartName="/ppt/slideLayouts/slideLayout259.xml" ContentType="application/vnd.openxmlformats-officedocument.presentationml.slideLayout+xml"/>
  <Override PartName="/ppt/slideLayouts/slideLayout260.xml" ContentType="application/vnd.openxmlformats-officedocument.presentationml.slideLayout+xml"/>
  <Override PartName="/ppt/slideLayouts/slideLayout261.xml" ContentType="application/vnd.openxmlformats-officedocument.presentationml.slideLayout+xml"/>
  <Override PartName="/ppt/slideLayouts/slideLayout262.xml" ContentType="application/vnd.openxmlformats-officedocument.presentationml.slideLayout+xml"/>
  <Override PartName="/ppt/slideLayouts/slideLayout263.xml" ContentType="application/vnd.openxmlformats-officedocument.presentationml.slideLayout+xml"/>
  <Override PartName="/ppt/slideLayouts/slideLayout264.xml" ContentType="application/vnd.openxmlformats-officedocument.presentationml.slideLayout+xml"/>
  <Override PartName="/ppt/slideLayouts/slideLayout265.xml" ContentType="application/vnd.openxmlformats-officedocument.presentationml.slideLayout+xml"/>
  <Override PartName="/ppt/slideLayouts/slideLayout266.xml" ContentType="application/vnd.openxmlformats-officedocument.presentationml.slideLayout+xml"/>
  <Override PartName="/ppt/slideLayouts/slideLayout267.xml" ContentType="application/vnd.openxmlformats-officedocument.presentationml.slideLayout+xml"/>
  <Override PartName="/ppt/slideLayouts/slideLayout268.xml" ContentType="application/vnd.openxmlformats-officedocument.presentationml.slideLayout+xml"/>
  <Override PartName="/ppt/slideLayouts/slideLayout269.xml" ContentType="application/vnd.openxmlformats-officedocument.presentationml.slideLayout+xml"/>
  <Override PartName="/ppt/slideLayouts/slideLayout270.xml" ContentType="application/vnd.openxmlformats-officedocument.presentationml.slideLayout+xml"/>
  <Override PartName="/ppt/slideLayouts/slideLayout271.xml" ContentType="application/vnd.openxmlformats-officedocument.presentationml.slideLayout+xml"/>
  <Override PartName="/ppt/slideLayouts/slideLayout272.xml" ContentType="application/vnd.openxmlformats-officedocument.presentationml.slideLayout+xml"/>
  <Override PartName="/ppt/slideLayouts/slideLayout273.xml" ContentType="application/vnd.openxmlformats-officedocument.presentationml.slideLayout+xml"/>
  <Override PartName="/ppt/slideLayouts/slideLayout274.xml" ContentType="application/vnd.openxmlformats-officedocument.presentationml.slideLayout+xml"/>
  <Override PartName="/ppt/slideLayouts/slideLayout275.xml" ContentType="application/vnd.openxmlformats-officedocument.presentationml.slideLayout+xml"/>
  <Override PartName="/ppt/slideLayouts/slideLayout276.xml" ContentType="application/vnd.openxmlformats-officedocument.presentationml.slideLayout+xml"/>
  <Override PartName="/ppt/slideLayouts/slideLayout277.xml" ContentType="application/vnd.openxmlformats-officedocument.presentationml.slideLayout+xml"/>
  <Override PartName="/ppt/slideLayouts/slideLayout278.xml" ContentType="application/vnd.openxmlformats-officedocument.presentationml.slideLayout+xml"/>
  <Override PartName="/ppt/slideLayouts/slideLayout279.xml" ContentType="application/vnd.openxmlformats-officedocument.presentationml.slideLayout+xml"/>
  <Override PartName="/ppt/slideLayouts/slideLayout280.xml" ContentType="application/vnd.openxmlformats-officedocument.presentationml.slideLayout+xml"/>
  <Override PartName="/ppt/slideLayouts/slideLayout281.xml" ContentType="application/vnd.openxmlformats-officedocument.presentationml.slideLayout+xml"/>
  <Override PartName="/ppt/slideLayouts/slideLayout282.xml" ContentType="application/vnd.openxmlformats-officedocument.presentationml.slideLayout+xml"/>
  <Override PartName="/ppt/slideLayouts/slideLayout283.xml" ContentType="application/vnd.openxmlformats-officedocument.presentationml.slideLayout+xml"/>
  <Override PartName="/ppt/slideLayouts/slideLayout284.xml" ContentType="application/vnd.openxmlformats-officedocument.presentationml.slideLayout+xml"/>
  <Override PartName="/ppt/slideLayouts/slideLayout285.xml" ContentType="application/vnd.openxmlformats-officedocument.presentationml.slideLayout+xml"/>
  <Override PartName="/ppt/slideLayouts/slideLayout286.xml" ContentType="application/vnd.openxmlformats-officedocument.presentationml.slideLayout+xml"/>
  <Override PartName="/ppt/slideLayouts/slideLayout287.xml" ContentType="application/vnd.openxmlformats-officedocument.presentationml.slideLayout+xml"/>
  <Override PartName="/ppt/slideLayouts/slideLayout288.xml" ContentType="application/vnd.openxmlformats-officedocument.presentationml.slideLayout+xml"/>
  <Override PartName="/ppt/slideLayouts/slideLayout289.xml" ContentType="application/vnd.openxmlformats-officedocument.presentationml.slideLayout+xml"/>
  <Override PartName="/ppt/slideLayouts/slideLayout290.xml" ContentType="application/vnd.openxmlformats-officedocument.presentationml.slideLayout+xml"/>
  <Override PartName="/ppt/slideLayouts/slideLayout291.xml" ContentType="application/vnd.openxmlformats-officedocument.presentationml.slideLayout+xml"/>
  <Override PartName="/ppt/slideLayouts/slideLayout292.xml" ContentType="application/vnd.openxmlformats-officedocument.presentationml.slideLayout+xml"/>
  <Override PartName="/ppt/slideLayouts/slideLayout293.xml" ContentType="application/vnd.openxmlformats-officedocument.presentationml.slideLayout+xml"/>
  <Override PartName="/ppt/slideLayouts/slideLayout294.xml" ContentType="application/vnd.openxmlformats-officedocument.presentationml.slideLayout+xml"/>
  <Override PartName="/ppt/slideLayouts/slideLayout295.xml" ContentType="application/vnd.openxmlformats-officedocument.presentationml.slideLayout+xml"/>
  <Override PartName="/ppt/slideLayouts/slideLayout296.xml" ContentType="application/vnd.openxmlformats-officedocument.presentationml.slideLayout+xml"/>
  <Override PartName="/ppt/slideLayouts/slideLayout297.xml" ContentType="application/vnd.openxmlformats-officedocument.presentationml.slideLayout+xml"/>
  <Override PartName="/ppt/slideLayouts/slideLayout298.xml" ContentType="application/vnd.openxmlformats-officedocument.presentationml.slideLayout+xml"/>
  <Override PartName="/ppt/slideLayouts/slideLayout299.xml" ContentType="application/vnd.openxmlformats-officedocument.presentationml.slideLayout+xml"/>
  <Override PartName="/ppt/slideLayouts/slideLayout300.xml" ContentType="application/vnd.openxmlformats-officedocument.presentationml.slideLayout+xml"/>
  <Override PartName="/ppt/slideLayouts/slideLayout301.xml" ContentType="application/vnd.openxmlformats-officedocument.presentationml.slideLayout+xml"/>
  <Override PartName="/ppt/slideLayouts/slideLayout302.xml" ContentType="application/vnd.openxmlformats-officedocument.presentationml.slideLayout+xml"/>
  <Override PartName="/ppt/slideLayouts/slideLayout303.xml" ContentType="application/vnd.openxmlformats-officedocument.presentationml.slideLayout+xml"/>
  <Override PartName="/ppt/slideLayouts/slideLayout304.xml" ContentType="application/vnd.openxmlformats-officedocument.presentationml.slideLayout+xml"/>
  <Override PartName="/ppt/slideLayouts/slideLayout305.xml" ContentType="application/vnd.openxmlformats-officedocument.presentationml.slideLayout+xml"/>
  <Override PartName="/ppt/slideLayouts/slideLayout306.xml" ContentType="application/vnd.openxmlformats-officedocument.presentationml.slideLayout+xml"/>
  <Override PartName="/ppt/theme/theme8.xml" ContentType="application/vnd.openxmlformats-officedocument.theme+xml"/>
  <Override PartName="/ppt/slideLayouts/slideLayout307.xml" ContentType="application/vnd.openxmlformats-officedocument.presentationml.slideLayout+xml"/>
  <Override PartName="/ppt/slideLayouts/slideLayout308.xml" ContentType="application/vnd.openxmlformats-officedocument.presentationml.slideLayout+xml"/>
  <Override PartName="/ppt/slideLayouts/slideLayout309.xml" ContentType="application/vnd.openxmlformats-officedocument.presentationml.slideLayout+xml"/>
  <Override PartName="/ppt/slideLayouts/slideLayout310.xml" ContentType="application/vnd.openxmlformats-officedocument.presentationml.slideLayout+xml"/>
  <Override PartName="/ppt/slideLayouts/slideLayout311.xml" ContentType="application/vnd.openxmlformats-officedocument.presentationml.slideLayout+xml"/>
  <Override PartName="/ppt/slideLayouts/slideLayout312.xml" ContentType="application/vnd.openxmlformats-officedocument.presentationml.slideLayout+xml"/>
  <Override PartName="/ppt/slideLayouts/slideLayout313.xml" ContentType="application/vnd.openxmlformats-officedocument.presentationml.slideLayout+xml"/>
  <Override PartName="/ppt/slideLayouts/slideLayout314.xml" ContentType="application/vnd.openxmlformats-officedocument.presentationml.slideLayout+xml"/>
  <Override PartName="/ppt/slideLayouts/slideLayout315.xml" ContentType="application/vnd.openxmlformats-officedocument.presentationml.slideLayout+xml"/>
  <Override PartName="/ppt/slideLayouts/slideLayout316.xml" ContentType="application/vnd.openxmlformats-officedocument.presentationml.slideLayout+xml"/>
  <Override PartName="/ppt/slideLayouts/slideLayout317.xml" ContentType="application/vnd.openxmlformats-officedocument.presentationml.slideLayout+xml"/>
  <Override PartName="/ppt/slideLayouts/slideLayout318.xml" ContentType="application/vnd.openxmlformats-officedocument.presentationml.slideLayout+xml"/>
  <Override PartName="/ppt/slideLayouts/slideLayout319.xml" ContentType="application/vnd.openxmlformats-officedocument.presentationml.slideLayout+xml"/>
  <Override PartName="/ppt/slideLayouts/slideLayout320.xml" ContentType="application/vnd.openxmlformats-officedocument.presentationml.slideLayout+xml"/>
  <Override PartName="/ppt/theme/theme9.xml" ContentType="application/vnd.openxmlformats-officedocument.theme+xml"/>
  <Override PartName="/ppt/slideLayouts/slideLayout321.xml" ContentType="application/vnd.openxmlformats-officedocument.presentationml.slideLayout+xml"/>
  <Override PartName="/ppt/slideLayouts/slideLayout322.xml" ContentType="application/vnd.openxmlformats-officedocument.presentationml.slideLayout+xml"/>
  <Override PartName="/ppt/slideLayouts/slideLayout323.xml" ContentType="application/vnd.openxmlformats-officedocument.presentationml.slideLayout+xml"/>
  <Override PartName="/ppt/slideLayouts/slideLayout324.xml" ContentType="application/vnd.openxmlformats-officedocument.presentationml.slideLayout+xml"/>
  <Override PartName="/ppt/slideLayouts/slideLayout325.xml" ContentType="application/vnd.openxmlformats-officedocument.presentationml.slideLayout+xml"/>
  <Override PartName="/ppt/slideLayouts/slideLayout326.xml" ContentType="application/vnd.openxmlformats-officedocument.presentationml.slideLayout+xml"/>
  <Override PartName="/ppt/slideLayouts/slideLayout327.xml" ContentType="application/vnd.openxmlformats-officedocument.presentationml.slideLayout+xml"/>
  <Override PartName="/ppt/slideLayouts/slideLayout328.xml" ContentType="application/vnd.openxmlformats-officedocument.presentationml.slideLayout+xml"/>
  <Override PartName="/ppt/slideLayouts/slideLayout329.xml" ContentType="application/vnd.openxmlformats-officedocument.presentationml.slideLayout+xml"/>
  <Override PartName="/ppt/slideLayouts/slideLayout330.xml" ContentType="application/vnd.openxmlformats-officedocument.presentationml.slideLayout+xml"/>
  <Override PartName="/ppt/slideLayouts/slideLayout331.xml" ContentType="application/vnd.openxmlformats-officedocument.presentationml.slideLayout+xml"/>
  <Override PartName="/ppt/slideLayouts/slideLayout332.xml" ContentType="application/vnd.openxmlformats-officedocument.presentationml.slideLayout+xml"/>
  <Override PartName="/ppt/slideLayouts/slideLayout333.xml" ContentType="application/vnd.openxmlformats-officedocument.presentationml.slideLayout+xml"/>
  <Override PartName="/ppt/slideLayouts/slideLayout334.xml" ContentType="application/vnd.openxmlformats-officedocument.presentationml.slideLayout+xml"/>
  <Override PartName="/ppt/slideLayouts/slideLayout335.xml" ContentType="application/vnd.openxmlformats-officedocument.presentationml.slideLayout+xml"/>
  <Override PartName="/ppt/slideLayouts/slideLayout336.xml" ContentType="application/vnd.openxmlformats-officedocument.presentationml.slideLayout+xml"/>
  <Override PartName="/ppt/slideLayouts/slideLayout337.xml" ContentType="application/vnd.openxmlformats-officedocument.presentationml.slideLayout+xml"/>
  <Override PartName="/ppt/slideLayouts/slideLayout338.xml" ContentType="application/vnd.openxmlformats-officedocument.presentationml.slideLayout+xml"/>
  <Override PartName="/ppt/theme/theme10.xml" ContentType="application/vnd.openxmlformats-officedocument.theme+xml"/>
  <Override PartName="/ppt/slideLayouts/slideLayout339.xml" ContentType="application/vnd.openxmlformats-officedocument.presentationml.slideLayout+xml"/>
  <Override PartName="/ppt/slideLayouts/slideLayout340.xml" ContentType="application/vnd.openxmlformats-officedocument.presentationml.slideLayout+xml"/>
  <Override PartName="/ppt/slideLayouts/slideLayout341.xml" ContentType="application/vnd.openxmlformats-officedocument.presentationml.slideLayout+xml"/>
  <Override PartName="/ppt/slideLayouts/slideLayout342.xml" ContentType="application/vnd.openxmlformats-officedocument.presentationml.slideLayout+xml"/>
  <Override PartName="/ppt/slideLayouts/slideLayout343.xml" ContentType="application/vnd.openxmlformats-officedocument.presentationml.slideLayout+xml"/>
  <Override PartName="/ppt/slideLayouts/slideLayout344.xml" ContentType="application/vnd.openxmlformats-officedocument.presentationml.slideLayout+xml"/>
  <Override PartName="/ppt/slideLayouts/slideLayout345.xml" ContentType="application/vnd.openxmlformats-officedocument.presentationml.slideLayout+xml"/>
  <Override PartName="/ppt/slideLayouts/slideLayout346.xml" ContentType="application/vnd.openxmlformats-officedocument.presentationml.slideLayout+xml"/>
  <Override PartName="/ppt/slideLayouts/slideLayout347.xml" ContentType="application/vnd.openxmlformats-officedocument.presentationml.slideLayout+xml"/>
  <Override PartName="/ppt/slideLayouts/slideLayout348.xml" ContentType="application/vnd.openxmlformats-officedocument.presentationml.slideLayout+xml"/>
  <Override PartName="/ppt/slideLayouts/slideLayout349.xml" ContentType="application/vnd.openxmlformats-officedocument.presentationml.slideLayout+xml"/>
  <Override PartName="/ppt/slideLayouts/slideLayout350.xml" ContentType="application/vnd.openxmlformats-officedocument.presentationml.slideLayout+xml"/>
  <Override PartName="/ppt/slideLayouts/slideLayout351.xml" ContentType="application/vnd.openxmlformats-officedocument.presentationml.slideLayout+xml"/>
  <Override PartName="/ppt/slideLayouts/slideLayout352.xml" ContentType="application/vnd.openxmlformats-officedocument.presentationml.slideLayout+xml"/>
  <Override PartName="/ppt/slideLayouts/slideLayout353.xml" ContentType="application/vnd.openxmlformats-officedocument.presentationml.slideLayout+xml"/>
  <Override PartName="/ppt/slideLayouts/slideLayout354.xml" ContentType="application/vnd.openxmlformats-officedocument.presentationml.slideLayout+xml"/>
  <Override PartName="/ppt/slideLayouts/slideLayout355.xml" ContentType="application/vnd.openxmlformats-officedocument.presentationml.slideLayout+xml"/>
  <Override PartName="/ppt/slideLayouts/slideLayout356.xml" ContentType="application/vnd.openxmlformats-officedocument.presentationml.slideLayout+xml"/>
  <Override PartName="/ppt/slideLayouts/slideLayout357.xml" ContentType="application/vnd.openxmlformats-officedocument.presentationml.slideLayout+xml"/>
  <Override PartName="/ppt/slideLayouts/slideLayout358.xml" ContentType="application/vnd.openxmlformats-officedocument.presentationml.slideLayout+xml"/>
  <Override PartName="/ppt/slideLayouts/slideLayout359.xml" ContentType="application/vnd.openxmlformats-officedocument.presentationml.slideLayout+xml"/>
  <Override PartName="/ppt/slideLayouts/slideLayout360.xml" ContentType="application/vnd.openxmlformats-officedocument.presentationml.slideLayout+xml"/>
  <Override PartName="/ppt/slideLayouts/slideLayout361.xml" ContentType="application/vnd.openxmlformats-officedocument.presentationml.slideLayout+xml"/>
  <Override PartName="/ppt/slideLayouts/slideLayout362.xml" ContentType="application/vnd.openxmlformats-officedocument.presentationml.slideLayout+xml"/>
  <Override PartName="/ppt/slideLayouts/slideLayout363.xml" ContentType="application/vnd.openxmlformats-officedocument.presentationml.slideLayout+xml"/>
  <Override PartName="/ppt/slideLayouts/slideLayout364.xml" ContentType="application/vnd.openxmlformats-officedocument.presentationml.slideLayout+xml"/>
  <Override PartName="/ppt/slideLayouts/slideLayout365.xml" ContentType="application/vnd.openxmlformats-officedocument.presentationml.slideLayout+xml"/>
  <Override PartName="/ppt/slideLayouts/slideLayout366.xml" ContentType="application/vnd.openxmlformats-officedocument.presentationml.slideLayout+xml"/>
  <Override PartName="/ppt/slideLayouts/slideLayout367.xml" ContentType="application/vnd.openxmlformats-officedocument.presentationml.slideLayout+xml"/>
  <Override PartName="/ppt/slideLayouts/slideLayout368.xml" ContentType="application/vnd.openxmlformats-officedocument.presentationml.slideLayout+xml"/>
  <Override PartName="/ppt/slideLayouts/slideLayout369.xml" ContentType="application/vnd.openxmlformats-officedocument.presentationml.slideLayout+xml"/>
  <Override PartName="/ppt/slideLayouts/slideLayout370.xml" ContentType="application/vnd.openxmlformats-officedocument.presentationml.slideLayout+xml"/>
  <Override PartName="/ppt/slideLayouts/slideLayout371.xml" ContentType="application/vnd.openxmlformats-officedocument.presentationml.slideLayout+xml"/>
  <Override PartName="/ppt/slideLayouts/slideLayout372.xml" ContentType="application/vnd.openxmlformats-officedocument.presentationml.slideLayout+xml"/>
  <Override PartName="/ppt/slideLayouts/slideLayout373.xml" ContentType="application/vnd.openxmlformats-officedocument.presentationml.slideLayout+xml"/>
  <Override PartName="/ppt/slideLayouts/slideLayout374.xml" ContentType="application/vnd.openxmlformats-officedocument.presentationml.slideLayout+xml"/>
  <Override PartName="/ppt/slideLayouts/slideLayout375.xml" ContentType="application/vnd.openxmlformats-officedocument.presentationml.slideLayout+xml"/>
  <Override PartName="/ppt/slideLayouts/slideLayout376.xml" ContentType="application/vnd.openxmlformats-officedocument.presentationml.slideLayout+xml"/>
  <Override PartName="/ppt/slideLayouts/slideLayout377.xml" ContentType="application/vnd.openxmlformats-officedocument.presentationml.slideLayout+xml"/>
  <Override PartName="/ppt/theme/theme11.xml" ContentType="application/vnd.openxmlformats-officedocument.theme+xml"/>
  <Override PartName="/ppt/tags/tag2.xml" ContentType="application/vnd.openxmlformats-officedocument.presentationml.tags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charts/chart4.xml" ContentType="application/vnd.openxmlformats-officedocument.drawingml.chart+xml"/>
  <Override PartName="/ppt/theme/themeOverride4.xml" ContentType="application/vnd.openxmlformats-officedocument.themeOverride+xml"/>
  <Override PartName="/ppt/charts/chart5.xml" ContentType="application/vnd.openxmlformats-officedocument.drawingml.chart+xml"/>
  <Override PartName="/ppt/theme/themeOverride5.xml" ContentType="application/vnd.openxmlformats-officedocument.themeOverride+xml"/>
  <Override PartName="/ppt/charts/chart6.xml" ContentType="application/vnd.openxmlformats-officedocument.drawingml.chart+xml"/>
  <Override PartName="/ppt/theme/themeOverride6.xml" ContentType="application/vnd.openxmlformats-officedocument.themeOverride+xml"/>
  <Override PartName="/ppt/charts/chart7.xml" ContentType="application/vnd.openxmlformats-officedocument.drawingml.chart+xml"/>
  <Override PartName="/ppt/theme/themeOverride7.xml" ContentType="application/vnd.openxmlformats-officedocument.themeOverride+xml"/>
  <Override PartName="/ppt/notesSlides/notesSlide3.xml" ContentType="application/vnd.openxmlformats-officedocument.presentationml.notesSlide+xml"/>
  <Override PartName="/ppt/charts/chart8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36" r:id="rId4"/>
    <p:sldMasterId id="2147483678" r:id="rId5"/>
    <p:sldMasterId id="2147483695" r:id="rId6"/>
    <p:sldMasterId id="2147483710" r:id="rId7"/>
    <p:sldMasterId id="2147483777" r:id="rId8"/>
    <p:sldMasterId id="2147483834" r:id="rId9"/>
    <p:sldMasterId id="2147483854" r:id="rId10"/>
    <p:sldMasterId id="2147483969" r:id="rId11"/>
    <p:sldMasterId id="2147483655" r:id="rId12"/>
    <p:sldMasterId id="2147484047" r:id="rId13"/>
    <p:sldMasterId id="2147484072" r:id="rId14"/>
  </p:sldMasterIdLst>
  <p:notesMasterIdLst>
    <p:notesMasterId r:id="rId32"/>
  </p:notesMasterIdLst>
  <p:sldIdLst>
    <p:sldId id="2147477632" r:id="rId15"/>
    <p:sldId id="2147477596" r:id="rId16"/>
    <p:sldId id="2147477634" r:id="rId17"/>
    <p:sldId id="2147477635" r:id="rId18"/>
    <p:sldId id="2147375763" r:id="rId19"/>
    <p:sldId id="2147477577" r:id="rId20"/>
    <p:sldId id="2147477655" r:id="rId21"/>
    <p:sldId id="2147477651" r:id="rId22"/>
    <p:sldId id="2147477647" r:id="rId23"/>
    <p:sldId id="2147477656" r:id="rId24"/>
    <p:sldId id="2147477661" r:id="rId25"/>
    <p:sldId id="2147477649" r:id="rId26"/>
    <p:sldId id="2147477627" r:id="rId27"/>
    <p:sldId id="2147477657" r:id="rId28"/>
    <p:sldId id="2147477663" r:id="rId29"/>
    <p:sldId id="2147477662" r:id="rId30"/>
    <p:sldId id="2147477666" r:id="rId31"/>
  </p:sldIdLst>
  <p:sldSz cx="12192000" cy="6858000"/>
  <p:notesSz cx="6858000" cy="9144000"/>
  <p:defaultTextStyle>
    <a:defPPr>
      <a:defRPr lang="es-MX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F5DC88A-F4F1-83A8-AAC8-9E711694AAD7}" name="David Beale" initials="DB" userId="S::david.beale@essencemediacom.com::c94275c9-8e1c-4b9f-badb-02844e3182b1" providerId="AD"/>
  <p188:author id="{60B746AC-F4F6-A0A8-B6A3-6EABD4A72205}" name="Issaree Veerakanit" initials="IV" userId="S::issaree.veerakanit1@essencemediacom.com::882c589f-0b79-4b77-b121-23040f57b8c0" providerId="AD"/>
  <p188:author id="{2051EAD5-68F8-F7DB-DB7F-B973296B82BB}" name="Thomas Katryniak" initials="" userId="S::thomas.katryniak@essencemediacom.com::78a08f01-4d7d-40e6-9c7c-04f7a586f94d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7030A0"/>
    <a:srgbClr val="FF8A20"/>
    <a:srgbClr val="FFC000"/>
    <a:srgbClr val="FF5D37"/>
    <a:srgbClr val="DE6C15"/>
    <a:srgbClr val="F14A56"/>
    <a:srgbClr val="0066AC"/>
    <a:srgbClr val="EEEAF0"/>
    <a:srgbClr val="F6F6F6"/>
    <a:srgbClr val="E7045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65508186-3F70-4856-B313-8A3913568E5C}" v="1" dt="2024-11-05T22:28:50.833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Sin estilo ni cuadrícul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10"/>
    <p:restoredTop sz="94713"/>
  </p:normalViewPr>
  <p:slideViewPr>
    <p:cSldViewPr snapToGrid="0">
      <p:cViewPr varScale="1">
        <p:scale>
          <a:sx n="108" d="100"/>
          <a:sy n="108" d="100"/>
        </p:scale>
        <p:origin x="736" y="18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4.xml"/><Relationship Id="rId26" Type="http://schemas.openxmlformats.org/officeDocument/2006/relationships/slide" Target="slides/slide12.xml"/><Relationship Id="rId21" Type="http://schemas.openxmlformats.org/officeDocument/2006/relationships/slide" Target="slides/slide7.xml"/><Relationship Id="rId34" Type="http://schemas.openxmlformats.org/officeDocument/2006/relationships/viewProps" Target="viewProps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" Target="slides/slide3.xml"/><Relationship Id="rId25" Type="http://schemas.openxmlformats.org/officeDocument/2006/relationships/slide" Target="slides/slide11.xml"/><Relationship Id="rId33" Type="http://schemas.openxmlformats.org/officeDocument/2006/relationships/presProps" Target="presProps.xml"/><Relationship Id="rId38" Type="http://schemas.microsoft.com/office/2018/10/relationships/authors" Target="authors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slide" Target="slides/slide15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0.xml"/><Relationship Id="rId32" Type="http://schemas.openxmlformats.org/officeDocument/2006/relationships/notesMaster" Target="notesMasters/notesMaster1.xml"/><Relationship Id="rId37" Type="http://schemas.microsoft.com/office/2015/10/relationships/revisionInfo" Target="revisionInfo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slide" Target="slides/slide14.xml"/><Relationship Id="rId36" Type="http://schemas.openxmlformats.org/officeDocument/2006/relationships/tableStyles" Target="tableStyles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5.xml"/><Relationship Id="rId31" Type="http://schemas.openxmlformats.org/officeDocument/2006/relationships/slide" Target="slides/slide17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8.xml"/><Relationship Id="rId27" Type="http://schemas.openxmlformats.org/officeDocument/2006/relationships/slide" Target="slides/slide13.xml"/><Relationship Id="rId30" Type="http://schemas.openxmlformats.org/officeDocument/2006/relationships/slide" Target="slides/slide16.xml"/><Relationship Id="rId35" Type="http://schemas.openxmlformats.org/officeDocument/2006/relationships/theme" Target="theme/theme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.xlsx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1.xlsx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2.xlsx"/><Relationship Id="rId1" Type="http://schemas.openxmlformats.org/officeDocument/2006/relationships/themeOverride" Target="../theme/themeOverride3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3.xlsx"/><Relationship Id="rId1" Type="http://schemas.openxmlformats.org/officeDocument/2006/relationships/themeOverride" Target="../theme/themeOverride4.xml"/></Relationships>
</file>

<file path=ppt/charts/_rels/chart5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4.xlsx"/><Relationship Id="rId1" Type="http://schemas.openxmlformats.org/officeDocument/2006/relationships/themeOverride" Target="../theme/themeOverride5.xml"/></Relationships>
</file>

<file path=ppt/charts/_rels/chart6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5.xlsx"/><Relationship Id="rId1" Type="http://schemas.openxmlformats.org/officeDocument/2006/relationships/themeOverride" Target="../theme/themeOverride6.xml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Hoja_de_c_lculo_de_Microsoft_Excel6.xlsx"/><Relationship Id="rId1" Type="http://schemas.openxmlformats.org/officeDocument/2006/relationships/themeOverride" Target="../theme/themeOverride7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Hoja_de_c_lculo_de_Microsoft_Excel7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0-886C-4A45-870D-2373E816FEF6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886C-4A45-870D-2373E816FEF6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886C-4A45-870D-2373E816FEF6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3-886C-4A45-870D-2373E816FEF6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886C-4A45-870D-2373E816FEF6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9.4544567441577441E-3"/>
                  <c:y val="2.2921050764901925E-2"/>
                </c:manualLayout>
              </c:layout>
              <c:tx>
                <c:rich>
                  <a:bodyPr/>
                  <a:lstStyle/>
                  <a:p>
                    <a:fld id="{A8B6ADC7-A62D-7147-9C6C-CED859B7EB0C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 </a:t>
                    </a:r>
                  </a:p>
                  <a:p>
                    <a:fld id="{686E481A-4D7C-474E-82F6-D9627F18E7C4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886C-4A45-870D-2373E816FEF6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886C-4A45-870D-2373E816FEF6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96443637096456E-3"/>
                  <c:y val="6.7457971768377749E-3"/>
                </c:manualLayout>
              </c:layout>
              <c:tx>
                <c:rich>
                  <a:bodyPr/>
                  <a:lstStyle/>
                  <a:p>
                    <a:fld id="{C52A0B24-1190-8A40-8EC4-7DA9679E115E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;</a:t>
                    </a:r>
                  </a:p>
                  <a:p>
                    <a:r>
                      <a:rPr lang="en-US" baseline="0" dirty="0"/>
                      <a:t> </a:t>
                    </a:r>
                    <a:fld id="{1C67011A-C290-664C-A2DA-80CC9844B973}" type="VALUE">
                      <a:rPr lang="en-US" baseline="0"/>
                      <a:pPr/>
                      <a:t>[VALOR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886C-4A45-870D-2373E816FEF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886C-4A45-870D-2373E816FEF6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0"/>
                  <c:y val="-3.4407384740658862E-17"/>
                </c:manualLayout>
              </c:layout>
              <c:tx>
                <c:rich>
                  <a:bodyPr/>
                  <a:lstStyle/>
                  <a:p>
                    <a:fld id="{9532F9C6-7C30-C642-B7A1-09F3593397A0}" type="SERIESNAME">
                      <a:rPr lang="en-US"/>
                      <a:pPr/>
                      <a:t>[NOMBRE DE LA SERIE]</a:t>
                    </a:fld>
                    <a:r>
                      <a:rPr lang="en-US" baseline="0"/>
                      <a:t>; </a:t>
                    </a:r>
                  </a:p>
                  <a:p>
                    <a:fld id="{5CC97901-0D28-EF47-ACA1-6F650D24E2C9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BE4-1846-8BBD-8C19D8E79379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B-886C-4A45-870D-2373E816FEF6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86C-4A45-870D-2373E816FEF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0-F63D-49A0-87EB-8004071B75B1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1-F63D-49A0-87EB-8004071B75B1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2-F63D-49A0-87EB-8004071B75B1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3-F63D-49A0-87EB-8004071B75B1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4-F63D-49A0-87EB-8004071B75B1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3.5889644785185486E-3"/>
                  <c:y val="7.9067457971768382E-3"/>
                </c:manualLayout>
              </c:layout>
              <c:tx>
                <c:rich>
                  <a:bodyPr/>
                  <a:lstStyle/>
                  <a:p>
                    <a:fld id="{6AF12367-192C-9142-872D-35C0FE3C1725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 </a:t>
                    </a:r>
                  </a:p>
                  <a:p>
                    <a:fld id="{4712C39C-F46E-584C-B31A-98D2FB6C33EE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F63D-49A0-87EB-8004071B75B1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F63D-49A0-87EB-8004071B75B1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4.3350604538708645E-3"/>
                  <c:y val="6.7457971768377055E-3"/>
                </c:manualLayout>
              </c:layout>
              <c:tx>
                <c:rich>
                  <a:bodyPr/>
                  <a:lstStyle/>
                  <a:p>
                    <a:fld id="{847CAE01-B6EA-1049-A594-BFDC3205BA9D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; </a:t>
                    </a:r>
                  </a:p>
                  <a:p>
                    <a:fld id="{D34CE4B2-8695-5348-9188-9F39A159B97B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F63D-49A0-87EB-8004071B75B1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2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F63D-49A0-87EB-8004071B75B1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2.8360299878665202E-2"/>
                  <c:y val="-3.4407384740658862E-17"/>
                </c:manualLayout>
              </c:layout>
              <c:tx>
                <c:rich>
                  <a:bodyPr/>
                  <a:lstStyle/>
                  <a:p>
                    <a:fld id="{1621F893-A92A-BD4A-B1BF-0856F155ACA6}" type="SERIESNAME">
                      <a:rPr lang="en-US" smtClean="0"/>
                      <a:pPr/>
                      <a:t>[NOMBRE DE LA SERIE]</a:t>
                    </a:fld>
                    <a:r>
                      <a:rPr lang="en-US" baseline="0" dirty="0"/>
                      <a:t>; </a:t>
                    </a:r>
                  </a:p>
                  <a:p>
                    <a:fld id="{D558AD8A-27DD-E147-8485-EE89CD2CE19E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819B-7842-AB49-E1AEA548001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0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F63D-49A0-87EB-8004071B75B1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7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F63D-49A0-87EB-8004071B75B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9A7-4980-8FF0-14C2B3DF1380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9A7-4980-8FF0-14C2B3DF1380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9A7-4980-8FF0-14C2B3DF1380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9A7-4980-8FF0-14C2B3DF1380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9A7-4980-8FF0-14C2B3DF1380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1.1801323545791022E-3"/>
                  <c:y val="-7.1075591705483179E-3"/>
                </c:manualLayout>
              </c:layout>
              <c:tx>
                <c:rich>
                  <a:bodyPr/>
                  <a:lstStyle/>
                  <a:p>
                    <a:fld id="{0B29F3E8-D7FF-F249-99A3-4BD1182F3B55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 </a:t>
                    </a:r>
                  </a:p>
                  <a:p>
                    <a:fld id="{AD69384F-DF82-7D41-BEEC-DB9B426901EF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  <c:pt idx="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6-39A7-4980-8FF0-14C2B3DF1380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39A7-4980-8FF0-14C2B3DF1380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1.4969370429534124E-2"/>
                  <c:y val="-8.2685077908873812E-3"/>
                </c:manualLayout>
              </c:layout>
              <c:tx>
                <c:rich>
                  <a:bodyPr/>
                  <a:lstStyle/>
                  <a:p>
                    <a:fld id="{55193C73-E5F7-D84B-87C5-4C9828265365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;</a:t>
                    </a:r>
                  </a:p>
                  <a:p>
                    <a:r>
                      <a:rPr lang="en-US" baseline="0" dirty="0"/>
                      <a:t> </a:t>
                    </a:r>
                    <a:fld id="{5D812C0E-CE91-1347-ACBD-2F07907E4603}" type="VALUE">
                      <a:rPr lang="en-US" baseline="0"/>
                      <a:pPr/>
                      <a:t>[VALOR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39A7-4980-8FF0-14C2B3DF138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9A7-4980-8FF0-14C2B3DF1380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 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11D93D34-BCF4-E34C-9423-9FB049F5DC5D}" type="SERIESNAME">
                      <a:rPr lang="en-US"/>
                      <a:pPr/>
                      <a:t>[NOMBRE DE LA SERIE]</a:t>
                    </a:fld>
                    <a:r>
                      <a:rPr lang="en-US" baseline="0"/>
                      <a:t>; </a:t>
                    </a:r>
                  </a:p>
                  <a:p>
                    <a:fld id="{03CCECF9-37F6-6E43-95DE-9C95409E6AB7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0B60-3648-BD07-DF450C2B2040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0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39A7-4980-8FF0-14C2B3DF1380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6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9A7-4980-8FF0-14C2B3DF138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1BD4-4579-B360-95CFFA9BF68E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1BD4-4579-B360-95CFFA9BF68E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1BD4-4579-B360-95CFFA9BF68E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1BD4-4579-B360-95CFFA9BF68E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BD4-4579-B360-95CFFA9BF68E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9953874912111E-3"/>
                  <c:y val="-2.2121864138273474E-2"/>
                </c:manualLayout>
              </c:layout>
              <c:tx>
                <c:rich>
                  <a:bodyPr/>
                  <a:lstStyle/>
                  <a:p>
                    <a:fld id="{8AA992F2-399C-5E48-A868-123DC99504B1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 </a:t>
                    </a:r>
                  </a:p>
                  <a:p>
                    <a:fld id="{65BE1DCD-3202-9047-AC09-68194FA37730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1BD4-4579-B360-95CFFA9BF6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1BD4-4579-B360-95CFFA9BF68E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1BD4-4579-B360-95CFFA9BF68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1BD4-4579-B360-95CFFA9BF68E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6.2990501329992935E-3"/>
                  <c:y val="-2.3282972447260401E-2"/>
                </c:manualLayout>
              </c:layout>
              <c:tx>
                <c:rich>
                  <a:bodyPr/>
                  <a:lstStyle/>
                  <a:p>
                    <a:fld id="{185AE21B-1692-D946-85FC-60C0DA354A93}" type="SERIESNAME">
                      <a:rPr lang="en-US"/>
                      <a:pPr/>
                      <a:t>[NOMBRE DE LA SERIE]</a:t>
                    </a:fld>
                    <a:r>
                      <a:rPr lang="en-US" baseline="0" dirty="0"/>
                      <a:t>; </a:t>
                    </a:r>
                  </a:p>
                  <a:p>
                    <a:fld id="{74DABB95-E53D-E849-88BD-3B5DF73A68A7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1BD4-4579-B360-95CFFA9BF68E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0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A-1BD4-4579-B360-95CFFA9BF68E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tx>
                <c:rich>
                  <a:bodyPr/>
                  <a:lstStyle/>
                  <a:p>
                    <a:fld id="{3D76718E-3475-B848-AED0-7C3380375E99}" type="SERIESNAME">
                      <a:rPr lang="en-US"/>
                      <a:pPr/>
                      <a:t>[NOMBRE DE LA SERIE]</a:t>
                    </a:fld>
                    <a:r>
                      <a:rPr lang="en-US" baseline="0"/>
                      <a:t>; </a:t>
                    </a:r>
                  </a:p>
                  <a:p>
                    <a:fld id="{0F5EEC02-8D32-6140-B140-5141922CA56C}" type="VALUE">
                      <a:rPr lang="en-US" baseline="0" smtClean="0"/>
                      <a:pPr/>
                      <a:t>[VALOR]</a:t>
                    </a:fld>
                    <a:endParaRPr lang="es-HN"/>
                  </a:p>
                </c:rich>
              </c:tx>
              <c:showLegendKey val="0"/>
              <c:showVal val="1"/>
              <c:showCatName val="0"/>
              <c:showSerName val="1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1618-9944-84B8-21990CB66C43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  <c:pt idx="0">
                  <c:v>0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1BD4-4579-B360-95CFFA9BF68E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0.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1BD4-4579-B360-95CFFA9BF68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3283-45E6-84B0-7A19C98A0DAE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3283-45E6-84B0-7A19C98A0DAE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3283-45E6-84B0-7A19C98A0DAE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3283-45E6-84B0-7A19C98A0DAE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3283-45E6-84B0-7A19C98A0DAE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3283-45E6-84B0-7A19C98A0D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3283-45E6-84B0-7A19C98A0DAE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3283-45E6-84B0-7A19C98A0DA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3283-45E6-84B0-7A19C98A0DAE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3283-45E6-84B0-7A19C98A0DAE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B-3283-45E6-84B0-7A19C98A0DAE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3283-45E6-84B0-7A19C98A0DA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2E95-9445-955E-51C407C3B283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2E95-9445-955E-51C407C3B283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2E95-9445-955E-51C407C3B283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2E95-9445-955E-51C407C3B283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E95-9445-955E-51C407C3B283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2E95-9445-955E-51C407C3B2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2E95-9445-955E-51C407C3B283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2E95-9445-955E-51C407C3B283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2E95-9445-955E-51C407C3B283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2E95-9445-955E-51C407C3B283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A-2E95-9445-955E-51C407C3B283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2E95-9445-955E-51C407C3B28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/>
      <c:barChart>
        <c:barDir val="bar"/>
        <c:grouping val="percentStacke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Video</c:v>
                </c:pt>
              </c:strCache>
            </c:strRef>
          </c:tx>
          <c:spPr>
            <a:solidFill>
              <a:schemeClr val="accent2">
                <a:lumMod val="5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2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AF6-544C-8869-D62C9AF412A6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Social</c:v>
                </c:pt>
              </c:strCache>
            </c:strRef>
          </c:tx>
          <c:spPr>
            <a:solidFill>
              <a:schemeClr val="accent2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3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AF6-544C-8869-D62C9AF412A6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Influencers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4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5AF6-544C-8869-D62C9AF412A6}"/>
            </c:ext>
          </c:extLst>
        </c:ser>
        <c:ser>
          <c:idx val="3"/>
          <c:order val="3"/>
          <c:tx>
            <c:strRef>
              <c:f>Hoja1!$A$5</c:f>
              <c:strCache>
                <c:ptCount val="1"/>
                <c:pt idx="0">
                  <c:v>Display</c:v>
                </c:pt>
              </c:strCache>
            </c:strRef>
          </c:tx>
          <c:spPr>
            <a:solidFill>
              <a:schemeClr val="accent2">
                <a:lumMod val="60000"/>
                <a:lumOff val="4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5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5AF6-544C-8869-D62C9AF412A6}"/>
            </c:ext>
          </c:extLst>
        </c:ser>
        <c:ser>
          <c:idx val="4"/>
          <c:order val="4"/>
          <c:tx>
            <c:strRef>
              <c:f>Hoja1!$A$6</c:f>
              <c:strCache>
                <c:ptCount val="1"/>
                <c:pt idx="0">
                  <c:v>Search</c:v>
                </c:pt>
              </c:strCache>
            </c:strRef>
          </c:tx>
          <c:spPr>
            <a:solidFill>
              <a:schemeClr val="accent2">
                <a:lumMod val="40000"/>
                <a:lumOff val="60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6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5AF6-544C-8869-D62C9AF412A6}"/>
            </c:ext>
          </c:extLst>
        </c:ser>
        <c:ser>
          <c:idx val="5"/>
          <c:order val="5"/>
          <c:tx>
            <c:strRef>
              <c:f>Hoja1!$A$7</c:f>
              <c:strCache>
                <c:ptCount val="1"/>
                <c:pt idx="0">
                  <c:v>OOH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4.7247835879489913E-3"/>
                  <c:y val="-0.21730774284109711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AF6-544C-8869-D62C9AF412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7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6-5AF6-544C-8869-D62C9AF412A6}"/>
            </c:ext>
          </c:extLst>
        </c:ser>
        <c:ser>
          <c:idx val="6"/>
          <c:order val="6"/>
          <c:tx>
            <c:strRef>
              <c:f>Hoja1!$A$8</c:f>
              <c:strCache>
                <c:ptCount val="1"/>
                <c:pt idx="0">
                  <c:v>PTV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invertIfNegative val="0"/>
          <c:dLbls>
            <c:dLbl>
              <c:idx val="0"/>
              <c:layout>
                <c:manualLayout>
                  <c:x val="-7.8734406750994006E-3"/>
                  <c:y val="-1.5521981631507005E-2"/>
                </c:manualLayout>
              </c:layout>
              <c:showLegendKey val="0"/>
              <c:showVal val="1"/>
              <c:showCatName val="0"/>
              <c:showSerName val="1"/>
              <c:showPercent val="0"/>
              <c:showBubbleSize val="0"/>
              <c:separator> 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5AF6-544C-8869-D62C9AF412A6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8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8-5AF6-544C-8869-D62C9AF412A6}"/>
            </c:ext>
          </c:extLst>
        </c:ser>
        <c:ser>
          <c:idx val="7"/>
          <c:order val="7"/>
          <c:tx>
            <c:strRef>
              <c:f>Hoja1!$A$9</c:f>
              <c:strCache>
                <c:ptCount val="1"/>
                <c:pt idx="0">
                  <c:v>Rad</c:v>
                </c:pt>
              </c:strCache>
            </c:strRef>
          </c:tx>
          <c:spPr>
            <a:solidFill>
              <a:schemeClr val="accent3">
                <a:lumMod val="75000"/>
              </a:schemeClr>
            </a:solidFill>
            <a:ln>
              <a:noFill/>
            </a:ln>
            <a:effectLst/>
          </c:spPr>
          <c:invertIfNegative val="0"/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9</c:f>
              <c:numCache>
                <c:formatCode>0%</c:formatCode>
                <c:ptCount val="1"/>
                <c:pt idx="0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9-5AF6-544C-8869-D62C9AF412A6}"/>
            </c:ext>
          </c:extLst>
        </c:ser>
        <c:ser>
          <c:idx val="8"/>
          <c:order val="8"/>
          <c:tx>
            <c:strRef>
              <c:f>Hoja1!$A$10</c:f>
              <c:strCache>
                <c:ptCount val="1"/>
                <c:pt idx="0">
                  <c:v>Digital</c:v>
                </c:pt>
              </c:strCache>
            </c:strRef>
          </c:tx>
          <c:spPr>
            <a:solidFill>
              <a:schemeClr val="accent3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showLegendKey val="0"/>
            <c:showVal val="1"/>
            <c:showCatName val="0"/>
            <c:showSerName val="1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0</c:f>
              <c:numCache>
                <c:formatCode>0%</c:formatCode>
                <c:ptCount val="1"/>
              </c:numCache>
            </c:numRef>
          </c:val>
          <c:extLst>
            <c:ext xmlns:c16="http://schemas.microsoft.com/office/drawing/2014/chart" uri="{C3380CC4-5D6E-409C-BE32-E72D297353CC}">
              <c16:uniqueId val="{0000000A-5AF6-544C-8869-D62C9AF412A6}"/>
            </c:ext>
          </c:extLst>
        </c:ser>
        <c:ser>
          <c:idx val="9"/>
          <c:order val="9"/>
          <c:tx>
            <c:strRef>
              <c:f>Hoja1!$A$11</c:f>
              <c:strCache>
                <c:ptCount val="1"/>
                <c:pt idx="0">
                  <c:v>OTV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none" anchor="ctr" anchorCtr="1"/>
              <a:lstStyle/>
              <a:p>
                <a:pPr>
                  <a:defRPr sz="10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showLegendKey val="0"/>
            <c:showVal val="1"/>
            <c:showCatName val="0"/>
            <c:showSerName val="1"/>
            <c:showPercent val="0"/>
            <c:showBubbleSize val="0"/>
            <c:separator> </c:separator>
            <c:showLeaderLines val="0"/>
            <c:extLst>
              <c:ext xmlns:c15="http://schemas.microsoft.com/office/drawing/2012/chart" uri="{CE6537A1-D6FC-4f65-9D91-7224C49458BB}">
                <c15:spPr xmlns:c15="http://schemas.microsoft.com/office/drawing/2012/chart">
                  <a:prstGeom prst="rect">
                    <a:avLst/>
                  </a:prstGeom>
                </c15:spPr>
                <c15:showLeaderLines val="1"/>
              </c:ext>
            </c:extLst>
          </c:dLbls>
          <c:cat>
            <c:strRef>
              <c:f>Hoja1!$B$1</c:f>
              <c:strCache>
                <c:ptCount val="1"/>
                <c:pt idx="0">
                  <c:v>SOI%</c:v>
                </c:pt>
              </c:strCache>
            </c:strRef>
          </c:cat>
          <c:val>
            <c:numRef>
              <c:f>Hoja1!$B$11</c:f>
              <c:numCache>
                <c:formatCode>0%</c:formatCode>
                <c:ptCount val="1"/>
                <c:pt idx="0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5AF6-544C-8869-D62C9AF412A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"/>
        <c:overlap val="100"/>
        <c:axId val="570221567"/>
        <c:axId val="570222047"/>
      </c:barChart>
      <c:catAx>
        <c:axId val="570221567"/>
        <c:scaling>
          <c:orientation val="minMax"/>
        </c:scaling>
        <c:delete val="1"/>
        <c:axPos val="r"/>
        <c:numFmt formatCode="General" sourceLinked="1"/>
        <c:majorTickMark val="none"/>
        <c:minorTickMark val="none"/>
        <c:tickLblPos val="nextTo"/>
        <c:crossAx val="570222047"/>
        <c:crosses val="autoZero"/>
        <c:auto val="1"/>
        <c:lblAlgn val="ctr"/>
        <c:lblOffset val="100"/>
        <c:noMultiLvlLbl val="0"/>
      </c:catAx>
      <c:valAx>
        <c:axId val="570222047"/>
        <c:scaling>
          <c:orientation val="maxMin"/>
        </c:scaling>
        <c:delete val="0"/>
        <c:axPos val="b"/>
        <c:numFmt formatCode="0%" sourceLinked="1"/>
        <c:majorTickMark val="out"/>
        <c:minorTickMark val="none"/>
        <c:tickLblPos val="none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bg1"/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570221567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1000">
          <a:solidFill>
            <a:schemeClr val="bg1"/>
          </a:solidFill>
        </a:defRPr>
      </a:pPr>
      <a:endParaRPr lang="es-HN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s-E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lineChart>
        <c:grouping val="standard"/>
        <c:varyColors val="0"/>
        <c:ser>
          <c:idx val="0"/>
          <c:order val="0"/>
          <c:tx>
            <c:strRef>
              <c:f>Hoja1!$A$2</c:f>
              <c:strCache>
                <c:ptCount val="1"/>
                <c:pt idx="0">
                  <c:v>Tabcin GT</c:v>
                </c:pt>
              </c:strCache>
            </c:strRef>
          </c:tx>
          <c:spPr>
            <a:ln w="28575" cap="rnd">
              <a:solidFill>
                <a:srgbClr val="7030A0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rgbClr val="7030A0"/>
              </a:solidFill>
              <a:ln>
                <a:solidFill>
                  <a:srgbClr val="7030A0"/>
                </a:solidFill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8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M$1</c:f>
              <c:strCache>
                <c:ptCount val="12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</c:strCache>
            </c:strRef>
          </c:cat>
          <c:val>
            <c:numRef>
              <c:f>Hoja1!$B$2:$M$2</c:f>
              <c:numCache>
                <c:formatCode>_-* #,##0_-;\-* #,##0_-;_-* "-"??_-;_-@_-</c:formatCode>
                <c:ptCount val="12"/>
                <c:pt idx="0">
                  <c:v>666.66666666666663</c:v>
                </c:pt>
                <c:pt idx="1">
                  <c:v>666.66666666666663</c:v>
                </c:pt>
                <c:pt idx="2">
                  <c:v>666.66666666666663</c:v>
                </c:pt>
                <c:pt idx="3">
                  <c:v>666.66666666666663</c:v>
                </c:pt>
                <c:pt idx="4">
                  <c:v>666.66666666666663</c:v>
                </c:pt>
                <c:pt idx="5">
                  <c:v>666.66666666666663</c:v>
                </c:pt>
                <c:pt idx="6">
                  <c:v>666.66666666666663</c:v>
                </c:pt>
                <c:pt idx="7">
                  <c:v>666.66666666666663</c:v>
                </c:pt>
                <c:pt idx="8">
                  <c:v>666.66666666666663</c:v>
                </c:pt>
                <c:pt idx="9">
                  <c:v>666.66666666666663</c:v>
                </c:pt>
                <c:pt idx="10">
                  <c:v>666.66666666666663</c:v>
                </c:pt>
                <c:pt idx="11">
                  <c:v>666.66666666666663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2D3-D340-9A34-0EAC57373BC2}"/>
            </c:ext>
          </c:extLst>
        </c:ser>
        <c:ser>
          <c:idx val="1"/>
          <c:order val="1"/>
          <c:tx>
            <c:strRef>
              <c:f>Hoja1!$A$3</c:f>
              <c:strCache>
                <c:ptCount val="1"/>
                <c:pt idx="0">
                  <c:v>Tabcin Noche</c:v>
                </c:pt>
              </c:strCache>
            </c:strRef>
          </c:tx>
          <c:spPr>
            <a:ln w="28575" cap="rnd">
              <a:solidFill>
                <a:schemeClr val="accent2"/>
              </a:solidFill>
              <a:round/>
            </a:ln>
            <a:effectLst/>
          </c:spPr>
          <c:marker>
            <c:symbol val="none"/>
          </c:marker>
          <c:dLbls>
            <c:spPr>
              <a:solidFill>
                <a:schemeClr val="accent2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bg1"/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M$1</c:f>
              <c:strCache>
                <c:ptCount val="12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</c:strCache>
            </c:strRef>
          </c:cat>
          <c:val>
            <c:numRef>
              <c:f>Hoja1!$B$3:$M$3</c:f>
              <c:numCache>
                <c:formatCode>_-* #,##0_-;\-* #,##0_-;_-* "-"??_-;_-@_-</c:formatCode>
                <c:ptCount val="12"/>
                <c:pt idx="0">
                  <c:v>458.33333333333331</c:v>
                </c:pt>
                <c:pt idx="1">
                  <c:v>458.33333333333331</c:v>
                </c:pt>
                <c:pt idx="2">
                  <c:v>458.33333333333331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2D3-D340-9A34-0EAC57373BC2}"/>
            </c:ext>
          </c:extLst>
        </c:ser>
        <c:ser>
          <c:idx val="2"/>
          <c:order val="2"/>
          <c:tx>
            <c:strRef>
              <c:f>Hoja1!$A$4</c:f>
              <c:strCache>
                <c:ptCount val="1"/>
                <c:pt idx="0">
                  <c:v>Tabcin Niños</c:v>
                </c:pt>
              </c:strCache>
            </c:strRef>
          </c:tx>
          <c:spPr>
            <a:ln w="28575" cap="rnd">
              <a:solidFill>
                <a:srgbClr val="FF8A20"/>
              </a:solidFill>
              <a:round/>
            </a:ln>
            <a:effectLst/>
          </c:spPr>
          <c:marker>
            <c:symbol val="none"/>
          </c:marker>
          <c:dLbls>
            <c:dLbl>
              <c:idx val="1"/>
              <c:spPr>
                <a:solidFill>
                  <a:srgbClr val="FF8A2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H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3-20D8-6C44-9CDB-7163BA1D9688}"/>
                </c:ext>
              </c:extLst>
            </c:dLbl>
            <c:dLbl>
              <c:idx val="4"/>
              <c:spPr>
                <a:solidFill>
                  <a:srgbClr val="FF8A2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H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1-20D8-6C44-9CDB-7163BA1D9688}"/>
                </c:ext>
              </c:extLst>
            </c:dLbl>
            <c:dLbl>
              <c:idx val="8"/>
              <c:spPr>
                <a:solidFill>
                  <a:srgbClr val="FF8A20"/>
                </a:solidFill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s-HN"/>
                </a:p>
              </c:txPr>
              <c:dLblPos val="ctr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20D8-6C44-9CDB-7163BA1D9688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es-HN"/>
              </a:p>
            </c:txPr>
            <c:dLblPos val="ctr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Hoja1!$B$1:$M$1</c:f>
              <c:strCache>
                <c:ptCount val="12"/>
                <c:pt idx="0">
                  <c:v>Ene</c:v>
                </c:pt>
                <c:pt idx="1">
                  <c:v>Feb</c:v>
                </c:pt>
                <c:pt idx="2">
                  <c:v>Mar</c:v>
                </c:pt>
                <c:pt idx="3">
                  <c:v>Abr</c:v>
                </c:pt>
                <c:pt idx="4">
                  <c:v>May</c:v>
                </c:pt>
                <c:pt idx="5">
                  <c:v>Jun</c:v>
                </c:pt>
                <c:pt idx="6">
                  <c:v>Jul</c:v>
                </c:pt>
                <c:pt idx="7">
                  <c:v>Ago</c:v>
                </c:pt>
                <c:pt idx="8">
                  <c:v>Sep</c:v>
                </c:pt>
                <c:pt idx="9">
                  <c:v>Oct</c:v>
                </c:pt>
                <c:pt idx="10">
                  <c:v>Nov</c:v>
                </c:pt>
                <c:pt idx="11">
                  <c:v>Dic</c:v>
                </c:pt>
              </c:strCache>
            </c:strRef>
          </c:cat>
          <c:val>
            <c:numRef>
              <c:f>Hoja1!$B$4:$M$4</c:f>
              <c:numCache>
                <c:formatCode>_-* #,##0_-;\-* #,##0_-;_-* "-"??_-;_-@_-</c:formatCode>
                <c:ptCount val="12"/>
                <c:pt idx="0">
                  <c:v>0</c:v>
                </c:pt>
                <c:pt idx="1">
                  <c:v>550</c:v>
                </c:pt>
                <c:pt idx="2">
                  <c:v>0</c:v>
                </c:pt>
                <c:pt idx="3">
                  <c:v>0</c:v>
                </c:pt>
                <c:pt idx="4">
                  <c:v>550</c:v>
                </c:pt>
                <c:pt idx="5">
                  <c:v>0</c:v>
                </c:pt>
                <c:pt idx="6">
                  <c:v>0</c:v>
                </c:pt>
                <c:pt idx="7">
                  <c:v>0</c:v>
                </c:pt>
                <c:pt idx="8">
                  <c:v>550</c:v>
                </c:pt>
                <c:pt idx="9">
                  <c:v>0</c:v>
                </c:pt>
                <c:pt idx="10">
                  <c:v>0</c:v>
                </c:pt>
                <c:pt idx="11">
                  <c:v>0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20D8-6C44-9CDB-7163BA1D968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968076415"/>
        <c:axId val="1007806399"/>
      </c:lineChart>
      <c:catAx>
        <c:axId val="968076415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0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es-HN"/>
          </a:p>
        </c:txPr>
        <c:crossAx val="1007806399"/>
        <c:crosses val="autoZero"/>
        <c:auto val="1"/>
        <c:lblAlgn val="ctr"/>
        <c:lblOffset val="100"/>
        <c:noMultiLvlLbl val="0"/>
      </c:catAx>
      <c:valAx>
        <c:axId val="1007806399"/>
        <c:scaling>
          <c:orientation val="minMax"/>
        </c:scaling>
        <c:delete val="1"/>
        <c:axPos val="l"/>
        <c:numFmt formatCode="_-* #,##0_-;\-* #,##0_-;_-* &quot;-&quot;??_-;_-@_-" sourceLinked="1"/>
        <c:majorTickMark val="none"/>
        <c:minorTickMark val="none"/>
        <c:tickLblPos val="nextTo"/>
        <c:crossAx val="968076415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es-HN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s-HN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C688F19-BFE6-452C-BDE8-0D5A6B82B694}" type="datetimeFigureOut">
              <a:rPr lang="es-MX" smtClean="0"/>
              <a:t>25/11/24</a:t>
            </a:fld>
            <a:endParaRPr lang="es-MX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s-MX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s-MX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7D9D3E-ECF5-42A1-827D-6C9E5FE9A802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251707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s-ES"/>
              <a:t>BO</a:t>
            </a:r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B7D9D3E-ECF5-42A1-827D-6C9E5FE9A802}" type="slidenum">
              <a:rPr kumimoji="0" lang="es-MX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MX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6516018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37B635CC-E9AB-F241-BD47-49145ED01C7A}" type="slidenum">
              <a:rPr kumimoji="0" lang="en-GB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GB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597550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5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8474502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7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2806088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10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289743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11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2566762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12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3482251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imagen d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Marcador de nota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s-HN" dirty="0"/>
          </a:p>
        </p:txBody>
      </p:sp>
      <p:sp>
        <p:nvSpPr>
          <p:cNvPr id="4" name="Marcador de número de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8B7D9D3E-ECF5-42A1-827D-6C9E5FE9A802}" type="slidenum">
              <a:rPr lang="es-MX" smtClean="0"/>
              <a:t>13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90331723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5.xml"/></Relationships>
</file>

<file path=ppt/slideLayouts/_rels/slideLayout1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5.xml"/></Relationships>
</file>

<file path=ppt/slideLayouts/_rels/slideLayout1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5.xml"/></Relationships>
</file>

<file path=ppt/slideLayouts/_rels/slideLayout1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5.xml"/></Relationships>
</file>

<file path=ppt/slideLayouts/_rels/slideLayout1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5.xml"/></Relationships>
</file>

<file path=ppt/slideLayouts/_rels/slideLayout1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8.png"/></Relationships>
</file>

<file path=ppt/slideLayouts/_rels/slideLayout1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1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6.xml"/></Relationships>
</file>

<file path=ppt/slideLayouts/_rels/slideLayout1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1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19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1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0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0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7.xml"/></Relationships>
</file>

<file path=ppt/slideLayouts/_rels/slideLayout2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7.xml"/></Relationships>
</file>

<file path=ppt/slideLayouts/_rels/slideLayout2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2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7.xml"/></Relationships>
</file>

<file path=ppt/slideLayouts/_rels/slideLayout2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2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7.xml"/></Relationships>
</file>

<file path=ppt/slideLayouts/_rels/slideLayout2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gif"/><Relationship Id="rId1" Type="http://schemas.openxmlformats.org/officeDocument/2006/relationships/slideMaster" Target="../slideMasters/slideMaster8.xml"/></Relationships>
</file>

<file path=ppt/slideLayouts/_rels/slideLayout2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9.xml"/></Relationships>
</file>

<file path=ppt/slideLayouts/_rels/slideLayout3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3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3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3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3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3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svg"/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0.xml"/></Relationships>
</file>

<file path=ppt/slideLayouts/_rels/slideLayout3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3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10.xml"/><Relationship Id="rId5" Type="http://schemas.openxmlformats.org/officeDocument/2006/relationships/image" Target="../media/image24.svg"/><Relationship Id="rId4" Type="http://schemas.openxmlformats.org/officeDocument/2006/relationships/image" Target="../media/image23.png"/></Relationships>
</file>

<file path=ppt/slideLayouts/_rels/slideLayout3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sv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0.xml"/></Relationships>
</file>

<file path=ppt/slideLayouts/_rels/slideLayout3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10.xml"/></Relationships>
</file>

<file path=ppt/slideLayouts/_rels/slideLayout3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3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10.xml"/></Relationships>
</file>

<file path=ppt/slideLayouts/_rels/slideLayout3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0.xml"/></Relationships>
</file>

<file path=ppt/slideLayouts/_rels/slideLayout3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3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20.emf"/><Relationship Id="rId5" Type="http://schemas.openxmlformats.org/officeDocument/2006/relationships/image" Target="../media/image31.emf"/><Relationship Id="rId4" Type="http://schemas.openxmlformats.org/officeDocument/2006/relationships/oleObject" Target="../embeddings/oleObject1.bin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6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4.xml"/></Relationships>
</file>

<file path=ppt/slideLayouts/_rels/slideLayout7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4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gif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gif"/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15306996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086083721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1031736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46564346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1426036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7375596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58614419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350525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16501407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2433402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377976578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8196E04-E761-4BEC-99D6-FF7ECA2C39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5DA49F09-C5E5-490B-96FF-8E387821290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58BB07C-3A5C-46A1-BA53-2D984A2E37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A071DFD-28B2-4303-A169-E9A39FEFA12D}" type="datetimeFigureOut">
              <a:rPr lang="en-US" smtClean="0"/>
              <a:t>11/25/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BAB7450F-6145-45D9-8630-1B5D5002885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6573065F-4C06-4675-A53A-7E71A0A7CD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0CFF519-6DC3-4D64-BBF3-89B9D779931D}" type="slidenum">
              <a:rPr lang="en-US" smtClean="0"/>
              <a:t>‹Nº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94384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93423113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4572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0681A36-BF63-97EC-72E9-BA871BF39F94}"/>
              </a:ext>
            </a:extLst>
          </p:cNvPr>
          <p:cNvCxnSpPr>
            <a:cxnSpLocks/>
          </p:cNvCxnSpPr>
          <p:nvPr userDrawn="1"/>
        </p:nvCxnSpPr>
        <p:spPr>
          <a:xfrm>
            <a:off x="980707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A907E154-177B-6875-738B-AA48E0B73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0707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723748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6017720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86083972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092507554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92644320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98601787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318021596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661856412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20785193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1977986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4459400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3346196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9949940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18239324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81208379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785201916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61574989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87049273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94685964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7821023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9800607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275381142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8153506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2909619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0210556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1422707"/>
      </p:ext>
    </p:extLst>
  </p:cSld>
  <p:clrMapOvr>
    <a:masterClrMapping/>
  </p:clrMapOvr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8193647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229951885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48376527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8783118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45139359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20422311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4172031946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7937560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420618084"/>
      </p:ext>
    </p:extLst>
  </p:cSld>
  <p:clrMapOvr>
    <a:masterClrMapping/>
  </p:clrMapOvr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72075591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02994356"/>
      </p:ext>
    </p:extLst>
  </p:cSld>
  <p:clrMapOvr>
    <a:masterClrMapping/>
  </p:clrMapOvr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8220689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2178391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5685643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594155404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22252284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9853317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Diapositiva de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ítulo 1">
            <a:extLst>
              <a:ext uri="{FF2B5EF4-FFF2-40B4-BE49-F238E27FC236}">
                <a16:creationId xmlns:a16="http://schemas.microsoft.com/office/drawing/2014/main" id="{772E6161-A266-4B9E-451D-71EEEBD7CBA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ítulo 2">
            <a:extLst>
              <a:ext uri="{FF2B5EF4-FFF2-40B4-BE49-F238E27FC236}">
                <a16:creationId xmlns:a16="http://schemas.microsoft.com/office/drawing/2014/main" id="{0499C679-5DEB-ADA4-077F-39D366ED84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Marcador de fecha 3">
            <a:extLst>
              <a:ext uri="{FF2B5EF4-FFF2-40B4-BE49-F238E27FC236}">
                <a16:creationId xmlns:a16="http://schemas.microsoft.com/office/drawing/2014/main" id="{204E8D6E-CB67-C464-1E34-611E2977D6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5" name="Marcador de pie de página 4">
            <a:extLst>
              <a:ext uri="{FF2B5EF4-FFF2-40B4-BE49-F238E27FC236}">
                <a16:creationId xmlns:a16="http://schemas.microsoft.com/office/drawing/2014/main" id="{FDB4A84D-0B8D-1279-2005-624EBDA0F1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6" name="Marcador de número de diapositiva 5">
            <a:extLst>
              <a:ext uri="{FF2B5EF4-FFF2-40B4-BE49-F238E27FC236}">
                <a16:creationId xmlns:a16="http://schemas.microsoft.com/office/drawing/2014/main" id="{5214D15B-F079-69FF-50D6-8A2710A75E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19529276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077828727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26929953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171668440"/>
      </p:ext>
    </p:extLst>
  </p:cSld>
  <p:clrMapOvr>
    <a:masterClrMapping/>
  </p:clrMapOvr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77845065"/>
      </p:ext>
    </p:extLst>
  </p:cSld>
  <p:clrMapOvr>
    <a:masterClrMapping/>
  </p:clrMapOvr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499233"/>
      </p:ext>
    </p:extLst>
  </p:cSld>
  <p:clrMapOvr>
    <a:masterClrMapping/>
  </p:clrMapOvr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75263946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5361217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57353894"/>
      </p:ext>
    </p:extLst>
  </p:cSld>
  <p:clrMapOvr>
    <a:masterClrMapping/>
  </p:clrMapOvr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2679315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2974118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5460650"/>
      </p:ext>
    </p:extLst>
  </p:cSld>
  <p:clrMapOvr>
    <a:masterClrMapping/>
  </p:clrMapOvr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8513917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663936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8436334"/>
      </p:ext>
    </p:extLst>
  </p:cSld>
  <p:clrMapOvr>
    <a:masterClrMapping/>
  </p:clrMapOvr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A8D4FE3-B74A-D3D0-1D15-8FD72009CE9F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65510868"/>
      </p:ext>
    </p:extLst>
  </p:cSld>
  <p:clrMapOvr>
    <a:masterClrMapping/>
  </p:clrMapOvr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28E8762-DAC0-DE78-47F7-E3762658EAC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1243077"/>
      </p:ext>
    </p:extLst>
  </p:cSld>
  <p:clrMapOvr>
    <a:masterClrMapping/>
  </p:clrMapOvr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7B111F8-BFAA-CC24-A3B3-B801C3F88B6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2771041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148634E-B406-F838-2603-49E7B4EEC9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0625278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0" y="6354"/>
            <a:ext cx="12191999" cy="6845294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06901212"/>
      </p:ext>
    </p:extLst>
  </p:cSld>
  <p:clrMapOvr>
    <a:masterClrMapping/>
  </p:clrMapOvr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/>
        </p:nvSpPr>
        <p:spPr>
          <a:xfrm>
            <a:off x="3980269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/>
        </p:nvSpPr>
        <p:spPr>
          <a:xfrm>
            <a:off x="2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1" y="804865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FF9B129-CF47-4A4C-8EAF-ED47CAE38682}"/>
              </a:ext>
            </a:extLst>
          </p:cNvPr>
          <p:cNvGrpSpPr/>
          <p:nvPr/>
        </p:nvGrpSpPr>
        <p:grpSpPr>
          <a:xfrm>
            <a:off x="609600" y="2240287"/>
            <a:ext cx="4213253" cy="307777"/>
            <a:chOff x="609600" y="2167932"/>
            <a:chExt cx="4213253" cy="307778"/>
          </a:xfrm>
        </p:grpSpPr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08882C5F-5C5A-5A45-BD08-6A4630295363}"/>
                </a:ext>
              </a:extLst>
            </p:cNvPr>
            <p:cNvSpPr txBox="1"/>
            <p:nvPr/>
          </p:nvSpPr>
          <p:spPr>
            <a:xfrm>
              <a:off x="609600" y="2167932"/>
              <a:ext cx="4213253" cy="30777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400"/>
                <a:t>Powered by </a:t>
              </a:r>
            </a:p>
          </p:txBody>
        </p:sp>
        <p:pic>
          <p:nvPicPr>
            <p:cNvPr id="16" name="Picture 15" descr="Logo&#10;&#10;Description automatically generated with low confidence">
              <a:extLst>
                <a:ext uri="{FF2B5EF4-FFF2-40B4-BE49-F238E27FC236}">
                  <a16:creationId xmlns:a16="http://schemas.microsoft.com/office/drawing/2014/main" id="{29FB1B43-32AB-6241-B807-C6F09E457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2100801" y="2238352"/>
              <a:ext cx="1168672" cy="207632"/>
            </a:xfrm>
            <a:prstGeom prst="rect">
              <a:avLst/>
            </a:prstGeom>
          </p:spPr>
        </p:pic>
        <p:pic>
          <p:nvPicPr>
            <p:cNvPr id="17" name="Picture 16" descr="A picture containing kitchenware, necktie, grater, accordion&#10;&#10;Description automatically generated">
              <a:extLst>
                <a:ext uri="{FF2B5EF4-FFF2-40B4-BE49-F238E27FC236}">
                  <a16:creationId xmlns:a16="http://schemas.microsoft.com/office/drawing/2014/main" id="{1AD16CA8-F373-D945-93F4-8B18C14A2B4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3523198" y="2296003"/>
              <a:ext cx="481962" cy="144589"/>
            </a:xfrm>
            <a:prstGeom prst="rect">
              <a:avLst/>
            </a:prstGeom>
          </p:spPr>
        </p:pic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6E8232E2-45FA-5745-B39D-DB9B186BFCC1}"/>
                </a:ext>
              </a:extLst>
            </p:cNvPr>
            <p:cNvGrpSpPr/>
            <p:nvPr/>
          </p:nvGrpSpPr>
          <p:grpSpPr>
            <a:xfrm>
              <a:off x="3336721" y="2309024"/>
              <a:ext cx="122249" cy="122249"/>
              <a:chOff x="3632751" y="2253656"/>
              <a:chExt cx="144725" cy="144725"/>
            </a:xfrm>
          </p:grpSpPr>
          <p:cxnSp>
            <p:nvCxnSpPr>
              <p:cNvPr id="19" name="Straight Connector 18">
                <a:extLst>
                  <a:ext uri="{FF2B5EF4-FFF2-40B4-BE49-F238E27FC236}">
                    <a16:creationId xmlns:a16="http://schemas.microsoft.com/office/drawing/2014/main" id="{AB7AC20B-D916-8D4B-917C-72D0E21C1A6E}"/>
                  </a:ext>
                </a:extLst>
              </p:cNvPr>
              <p:cNvCxnSpPr>
                <a:cxnSpLocks/>
              </p:cNvCxnSpPr>
              <p:nvPr/>
            </p:nvCxnSpPr>
            <p:spPr>
              <a:xfrm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0" name="Straight Connector 19">
                <a:extLst>
                  <a:ext uri="{FF2B5EF4-FFF2-40B4-BE49-F238E27FC236}">
                    <a16:creationId xmlns:a16="http://schemas.microsoft.com/office/drawing/2014/main" id="{E964EE3A-3B66-5C4F-A30E-00F13BA8347B}"/>
                  </a:ext>
                </a:extLst>
              </p:cNvPr>
              <p:cNvCxnSpPr>
                <a:cxnSpLocks/>
              </p:cNvCxnSpPr>
              <p:nvPr/>
            </p:nvCxnSpPr>
            <p:spPr>
              <a:xfrm flipV="1">
                <a:off x="3632751" y="2253656"/>
                <a:ext cx="144725" cy="144725"/>
              </a:xfrm>
              <a:prstGeom prst="line">
                <a:avLst/>
              </a:prstGeom>
              <a:ln w="12700">
                <a:solidFill>
                  <a:schemeClr val="tx1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</p:grpSp>
      </p:grp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5296AC07-F03A-9E4F-BF8C-11FDA9D15DF0}"/>
              </a:ext>
            </a:extLst>
          </p:cNvPr>
          <p:cNvCxnSpPr>
            <a:cxnSpLocks/>
          </p:cNvCxnSpPr>
          <p:nvPr/>
        </p:nvCxnSpPr>
        <p:spPr>
          <a:xfrm>
            <a:off x="644685" y="2157720"/>
            <a:ext cx="4037675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100000">
                  <a:schemeClr val="accent6"/>
                </a:gs>
              </a:gsLst>
              <a:lin ang="0" scaled="1"/>
              <a:tileRect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2" name="Picture 2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F5F6A68-6BCD-C84B-B3D3-2FAFBA0FFB3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3929" y="5633687"/>
            <a:ext cx="2888995" cy="66363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99818471"/>
      </p:ext>
    </p:extLst>
  </p:cSld>
  <p:clrMapOvr>
    <a:masterClrMapping/>
  </p:clrMapOvr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8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2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8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0"/>
            <a:ext cx="3120815" cy="6502400"/>
          </a:xfrm>
        </p:spPr>
        <p:txBody>
          <a:bodyPr anchor="ctr">
            <a:normAutofit/>
          </a:bodyPr>
          <a:lstStyle>
            <a:lvl1pPr>
              <a:defRPr sz="4500"/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5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69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3" cy="1758059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377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7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63969135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5548144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8" y="606553"/>
            <a:ext cx="5740063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/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1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2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2" y="-3701052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7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7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1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1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157625175"/>
      </p:ext>
    </p:extLst>
  </p:cSld>
  <p:clrMapOvr>
    <a:masterClrMapping/>
  </p:clrMapOvr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9" y="609601"/>
            <a:ext cx="6245995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 sz="1400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5" y="4261865"/>
            <a:ext cx="4023169" cy="1379539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/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29999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78669511"/>
      </p:ext>
    </p:extLst>
  </p:cSld>
  <p:clrMapOvr>
    <a:masterClrMapping/>
  </p:clrMapOvr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650044"/>
      </p:ext>
    </p:extLst>
  </p:cSld>
  <p:clrMapOvr>
    <a:masterClrMapping/>
  </p:clrMapOvr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82704776"/>
      </p:ext>
    </p:extLst>
  </p:cSld>
  <p:clrMapOvr>
    <a:masterClrMapping/>
  </p:clrMapOvr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5" y="2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7" y="609601"/>
            <a:ext cx="518764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9"/>
            <a:ext cx="6536431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 sz="1400"/>
          </a:p>
        </p:txBody>
      </p:sp>
    </p:spTree>
    <p:extLst>
      <p:ext uri="{BB962C8B-B14F-4D97-AF65-F5344CB8AC3E}">
        <p14:creationId xmlns:p14="http://schemas.microsoft.com/office/powerpoint/2010/main" val="1814719746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1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400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20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1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28486310"/>
      </p:ext>
    </p:extLst>
  </p:cSld>
  <p:clrMapOvr>
    <a:masterClrMapping/>
  </p:clrMapOvr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1" y="2941639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2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2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1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33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2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25401624"/>
      </p:ext>
    </p:extLst>
  </p:cSld>
  <p:clrMapOvr>
    <a:masterClrMapping/>
  </p:clrMapOvr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56515934"/>
      </p:ext>
    </p:extLst>
  </p:cSld>
  <p:clrMapOvr>
    <a:masterClrMapping/>
  </p:clrMapOvr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6" y="5119052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6" y="1662668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33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1" y="2866233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2338519045"/>
      </p:ext>
    </p:extLst>
  </p:cSld>
  <p:clrMapOvr>
    <a:masterClrMapping/>
  </p:clrMapOvr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6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6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5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41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41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3" y="2136141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33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8" y="2435403"/>
            <a:ext cx="2717801" cy="547688"/>
          </a:xfrm>
        </p:spPr>
        <p:txBody>
          <a:bodyPr anchor="ctr"/>
          <a:lstStyle>
            <a:lvl4pPr algn="ctr">
              <a:defRPr/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8" y="3140968"/>
            <a:ext cx="2717801" cy="547688"/>
          </a:xfrm>
        </p:spPr>
        <p:txBody>
          <a:bodyPr anchor="t">
            <a:normAutofit/>
          </a:bodyPr>
          <a:lstStyle>
            <a:lvl4pPr algn="ctr">
              <a:defRPr sz="1200" b="0"/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3625610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7765752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Key Takeawa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9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5" y="179851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1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6" y="-1414464"/>
            <a:ext cx="2782519" cy="6022347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1" cy="6496051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9" y="162517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7" y="321297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09" y="361444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3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7" y="4780493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8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6" y="609601"/>
            <a:ext cx="3626481" cy="1192743"/>
          </a:xfrm>
        </p:spPr>
        <p:txBody>
          <a:bodyPr>
            <a:normAutofit/>
          </a:bodyPr>
          <a:lstStyle>
            <a:lvl1pPr>
              <a:defRPr sz="4500"/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7" y="21071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5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7" y="2199982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5" y="336603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9" y="-140854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5" y="568694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8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7" y="6088414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33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5" y="725446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7"/>
            <a:ext cx="5708651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1528285295"/>
      </p:ext>
    </p:extLst>
  </p:cSld>
  <p:clrMapOvr>
    <a:masterClrMapping/>
  </p:clrMapOvr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/>
        </p:nvGrpSpPr>
        <p:grpSpPr>
          <a:xfrm>
            <a:off x="2865017" y="2510225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6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/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1400"/>
            </a:p>
          </p:txBody>
        </p:sp>
      </p:grpSp>
    </p:spTree>
    <p:extLst>
      <p:ext uri="{BB962C8B-B14F-4D97-AF65-F5344CB8AC3E}">
        <p14:creationId xmlns:p14="http://schemas.microsoft.com/office/powerpoint/2010/main" val="2084386248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Imagem 22">
            <a:extLst>
              <a:ext uri="{FF2B5EF4-FFF2-40B4-BE49-F238E27FC236}">
                <a16:creationId xmlns:a16="http://schemas.microsoft.com/office/drawing/2014/main" id="{79A65935-73AF-4DA8-A919-06AF2809A18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26596"/>
          <a:stretch/>
        </p:blipFill>
        <p:spPr>
          <a:xfrm>
            <a:off x="9207115" y="2"/>
            <a:ext cx="2984887" cy="5182049"/>
          </a:xfrm>
          <a:prstGeom prst="rect">
            <a:avLst/>
          </a:prstGeom>
        </p:spPr>
      </p:pic>
      <p:sp>
        <p:nvSpPr>
          <p:cNvPr id="24" name="Título 1">
            <a:extLst>
              <a:ext uri="{FF2B5EF4-FFF2-40B4-BE49-F238E27FC236}">
                <a16:creationId xmlns:a16="http://schemas.microsoft.com/office/drawing/2014/main" id="{536460E4-CDFF-47EB-8B21-4830F17064E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51" y="708027"/>
            <a:ext cx="1144342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25" name="Marcador de Posição do Texto 15">
            <a:extLst>
              <a:ext uri="{FF2B5EF4-FFF2-40B4-BE49-F238E27FC236}">
                <a16:creationId xmlns:a16="http://schemas.microsoft.com/office/drawing/2014/main" id="{BC6E7B4E-69C0-4C3C-8697-9DDA76B90094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1" y="1201713"/>
            <a:ext cx="11443428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7" name="Marcador de Posição do Texto 6">
            <a:extLst>
              <a:ext uri="{FF2B5EF4-FFF2-40B4-BE49-F238E27FC236}">
                <a16:creationId xmlns:a16="http://schemas.microsoft.com/office/drawing/2014/main" id="{993EB591-9A0E-46AA-9045-EB3008B3E08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028388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  <p:sp>
        <p:nvSpPr>
          <p:cNvPr id="8" name="Marcador de Posição do Texto 6">
            <a:extLst>
              <a:ext uri="{FF2B5EF4-FFF2-40B4-BE49-F238E27FC236}">
                <a16:creationId xmlns:a16="http://schemas.microsoft.com/office/drawing/2014/main" id="{2BDE4001-201A-47E3-8090-A0810CB9DAA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075452" y="3165423"/>
            <a:ext cx="3569013" cy="2290997"/>
          </a:xfrm>
        </p:spPr>
        <p:txBody>
          <a:bodyPr>
            <a:normAutofit/>
          </a:bodyPr>
          <a:lstStyle>
            <a:lvl1pPr>
              <a:defRPr sz="16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ext</a:t>
            </a:r>
            <a:endParaRPr lang="pt-PT"/>
          </a:p>
          <a:p>
            <a:pPr lvl="4"/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4082739010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01_Smart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Marcador de Posição do SmartArt 7">
            <a:extLst>
              <a:ext uri="{FF2B5EF4-FFF2-40B4-BE49-F238E27FC236}">
                <a16:creationId xmlns:a16="http://schemas.microsoft.com/office/drawing/2014/main" id="{47434D48-6DBF-4A18-AFC2-0416287AC32E}"/>
              </a:ext>
            </a:extLst>
          </p:cNvPr>
          <p:cNvSpPr>
            <a:spLocks noGrp="1"/>
          </p:cNvSpPr>
          <p:nvPr>
            <p:ph type="dgm" sz="quarter" idx="11"/>
          </p:nvPr>
        </p:nvSpPr>
        <p:spPr>
          <a:xfrm>
            <a:off x="692259" y="1693836"/>
            <a:ext cx="10807484" cy="3715072"/>
          </a:xfrm>
        </p:spPr>
        <p:txBody>
          <a:bodyPr anchor="ctr">
            <a:normAutofit/>
          </a:bodyPr>
          <a:lstStyle>
            <a:lvl1pPr algn="ctr">
              <a:defRPr sz="2400" b="1"/>
            </a:lvl1pPr>
          </a:lstStyle>
          <a:p>
            <a:r>
              <a:rPr lang="es-ES"/>
              <a:t>Haga clic en el icono para agregar un elemento gráfico SmartArt</a:t>
            </a:r>
            <a:endParaRPr lang="pt-PT"/>
          </a:p>
        </p:txBody>
      </p:sp>
      <p:sp>
        <p:nvSpPr>
          <p:cNvPr id="16" name="Título 1">
            <a:extLst>
              <a:ext uri="{FF2B5EF4-FFF2-40B4-BE49-F238E27FC236}">
                <a16:creationId xmlns:a16="http://schemas.microsoft.com/office/drawing/2014/main" id="{685866D5-220C-4EFD-8466-BB12CD6648E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323849" y="408223"/>
            <a:ext cx="11338499" cy="473076"/>
          </a:xfrm>
        </p:spPr>
        <p:txBody>
          <a:bodyPr/>
          <a:lstStyle>
            <a:lvl1pPr>
              <a:defRPr/>
            </a:lvl1pPr>
          </a:lstStyle>
          <a:p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  <p:sp>
        <p:nvSpPr>
          <p:cNvPr id="17" name="Marcador de Posição do Texto 15">
            <a:extLst>
              <a:ext uri="{FF2B5EF4-FFF2-40B4-BE49-F238E27FC236}">
                <a16:creationId xmlns:a16="http://schemas.microsoft.com/office/drawing/2014/main" id="{7020BC6D-C4C7-47DB-AAE9-331951ECE4EE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23850" y="901909"/>
            <a:ext cx="11338497" cy="282315"/>
          </a:xfrm>
        </p:spPr>
        <p:txBody>
          <a:bodyPr>
            <a:noAutofit/>
          </a:bodyPr>
          <a:lstStyle>
            <a:lvl1pPr>
              <a:defRPr sz="1600" b="1">
                <a:solidFill>
                  <a:srgbClr val="1B3548"/>
                </a:solidFill>
              </a:defRPr>
            </a:lvl1pPr>
            <a:lvl2pPr>
              <a:defRPr sz="4000" b="1">
                <a:solidFill>
                  <a:schemeClr val="bg1"/>
                </a:solidFill>
              </a:defRPr>
            </a:lvl2pPr>
            <a:lvl3pPr>
              <a:defRPr sz="4000" b="1">
                <a:solidFill>
                  <a:schemeClr val="bg1"/>
                </a:solidFill>
              </a:defRPr>
            </a:lvl3pPr>
            <a:lvl4pPr>
              <a:defRPr sz="4000" b="1">
                <a:solidFill>
                  <a:schemeClr val="bg1"/>
                </a:solidFill>
              </a:defRPr>
            </a:lvl4pPr>
            <a:lvl5pPr>
              <a:defRPr sz="4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pt-PT" err="1"/>
              <a:t>Click</a:t>
            </a:r>
            <a:r>
              <a:rPr lang="pt-PT"/>
              <a:t> to </a:t>
            </a:r>
            <a:r>
              <a:rPr lang="pt-PT" err="1"/>
              <a:t>edit</a:t>
            </a:r>
            <a:r>
              <a:rPr lang="pt-PT"/>
              <a:t> </a:t>
            </a:r>
            <a:r>
              <a:rPr lang="pt-PT" err="1"/>
              <a:t>title</a:t>
            </a:r>
            <a:endParaRPr lang="pt-PT"/>
          </a:p>
        </p:txBody>
      </p:sp>
    </p:spTree>
    <p:extLst>
      <p:ext uri="{BB962C8B-B14F-4D97-AF65-F5344CB8AC3E}">
        <p14:creationId xmlns:p14="http://schemas.microsoft.com/office/powerpoint/2010/main" val="3976642531"/>
      </p:ext>
    </p:extLst>
  </p:cSld>
  <p:clrMapOvr>
    <a:masterClrMapping/>
  </p:clrMapOvr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1826074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3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01882566"/>
      </p:ext>
    </p:extLst>
  </p:cSld>
  <p:clrMapOvr>
    <a:masterClrMapping/>
  </p:clrMapOvr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i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>
            <a:spLocks noGrp="1"/>
          </p:cNvSpPr>
          <p:nvPr>
            <p:ph type="subTitle" idx="13"/>
          </p:nvPr>
        </p:nvSpPr>
        <p:spPr bwMode="gray">
          <a:xfrm>
            <a:off x="981949" y="1138299"/>
            <a:ext cx="10799867" cy="252000"/>
          </a:xfrm>
        </p:spPr>
        <p:txBody>
          <a:bodyPr anchor="t"/>
          <a:lstStyle>
            <a:lvl1pPr marL="0" indent="0" algn="l">
              <a:buNone/>
              <a:defRPr sz="1800">
                <a:solidFill>
                  <a:schemeClr val="accent1"/>
                </a:solidFill>
              </a:defRPr>
            </a:lvl1pPr>
            <a:lvl2pPr marL="0" indent="0" algn="l">
              <a:buNone/>
              <a:defRPr sz="1800">
                <a:solidFill>
                  <a:schemeClr val="accent1"/>
                </a:solidFill>
              </a:defRPr>
            </a:lvl2pPr>
            <a:lvl3pPr marL="0" indent="0" algn="l">
              <a:buNone/>
              <a:defRPr sz="1800">
                <a:solidFill>
                  <a:schemeClr val="accent1"/>
                </a:solidFill>
              </a:defRPr>
            </a:lvl3pPr>
            <a:lvl4pPr marL="0" indent="0" algn="l">
              <a:buNone/>
              <a:defRPr sz="1800">
                <a:solidFill>
                  <a:schemeClr val="accent1"/>
                </a:solidFill>
              </a:defRPr>
            </a:lvl4pPr>
            <a:lvl5pPr marL="0" indent="0" algn="l">
              <a:buNone/>
              <a:defRPr sz="1800">
                <a:solidFill>
                  <a:schemeClr val="accent1"/>
                </a:solidFill>
              </a:defRPr>
            </a:lvl5pPr>
            <a:lvl6pPr marL="0" indent="0" algn="l">
              <a:buNone/>
              <a:defRPr sz="1800">
                <a:solidFill>
                  <a:schemeClr val="accent1"/>
                </a:solidFill>
              </a:defRPr>
            </a:lvl6pPr>
            <a:lvl7pPr marL="0" indent="0" algn="l">
              <a:buNone/>
              <a:defRPr sz="1800">
                <a:solidFill>
                  <a:schemeClr val="accent1"/>
                </a:solidFill>
              </a:defRPr>
            </a:lvl7pPr>
            <a:lvl8pPr marL="0" indent="0" algn="l">
              <a:buNone/>
              <a:defRPr sz="1800">
                <a:solidFill>
                  <a:schemeClr val="accent1"/>
                </a:solidFill>
              </a:defRPr>
            </a:lvl8pPr>
            <a:lvl9pPr marL="0" indent="0" algn="l">
              <a:buNone/>
              <a:defRPr sz="1800">
                <a:solidFill>
                  <a:schemeClr val="accent1"/>
                </a:solidFill>
              </a:defRPr>
            </a:lvl9pPr>
          </a:lstStyle>
          <a:p>
            <a:pPr lvl="0"/>
            <a:r>
              <a:rPr lang="es-ES"/>
              <a:t>Haga clic para modificar el estilo de subtítulo del patrón</a:t>
            </a:r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 bwMode="gray"/>
        <p:txBody>
          <a:bodyPr/>
          <a:lstStyle/>
          <a:p>
            <a:r>
              <a:rPr lang="es-ES"/>
              <a:t>Haga clic para modificar el estilo de título del patrón</a:t>
            </a:r>
            <a:endParaRPr lang="en-US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 bwMode="gray"/>
        <p:txBody>
          <a:bodyPr/>
          <a:lstStyle/>
          <a:p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 bwMode="gray"/>
        <p:txBody>
          <a:bodyPr/>
          <a:lstStyle/>
          <a:p>
            <a:r>
              <a:rPr lang="en-US"/>
              <a:t>Source: 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 bwMode="gray"/>
        <p:txBody>
          <a:bodyPr/>
          <a:lstStyle/>
          <a:p>
            <a:fld id="{EEAD9179-7A6B-4268-BEB2-F3B8EB06115B}" type="slidenum">
              <a:rPr lang="en-US" smtClean="0"/>
              <a:t>‹Nº›</a:t>
            </a:fld>
            <a:endParaRPr lang="en-US"/>
          </a:p>
        </p:txBody>
      </p:sp>
      <p:pic>
        <p:nvPicPr>
          <p:cNvPr id="9" name="Picture 2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gray">
          <a:xfrm>
            <a:off x="196131" y="617155"/>
            <a:ext cx="399652" cy="39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7" name="Inhaltsplatzhalter 6"/>
          <p:cNvSpPr>
            <a:spLocks noGrp="1"/>
          </p:cNvSpPr>
          <p:nvPr>
            <p:ph sz="quarter" idx="14"/>
          </p:nvPr>
        </p:nvSpPr>
        <p:spPr>
          <a:xfrm>
            <a:off x="981949" y="1732753"/>
            <a:ext cx="10799867" cy="475199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de-DE"/>
          </a:p>
        </p:txBody>
      </p:sp>
      <p:sp>
        <p:nvSpPr>
          <p:cNvPr id="10" name="Logoschutz" hidden="1"/>
          <p:cNvSpPr/>
          <p:nvPr>
            <p:custDataLst>
              <p:tags r:id="rId1"/>
            </p:custDataLst>
          </p:nvPr>
        </p:nvSpPr>
        <p:spPr bwMode="gray">
          <a:xfrm>
            <a:off x="86017" y="509323"/>
            <a:ext cx="612080" cy="612000"/>
          </a:xfrm>
          <a:prstGeom prst="rect">
            <a:avLst/>
          </a:prstGeom>
          <a:solidFill>
            <a:srgbClr val="00BCFF">
              <a:alpha val="38824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e-DE" sz="900">
                <a:solidFill>
                  <a:schemeClr val="tx1"/>
                </a:solidFill>
              </a:rPr>
              <a:t>Logo</a:t>
            </a:r>
          </a:p>
          <a:p>
            <a:pPr algn="ctr"/>
            <a:r>
              <a:rPr lang="de-DE" sz="900">
                <a:solidFill>
                  <a:schemeClr val="tx1"/>
                </a:solidFill>
              </a:rPr>
              <a:t>Schutz</a:t>
            </a:r>
          </a:p>
        </p:txBody>
      </p:sp>
    </p:spTree>
    <p:extLst>
      <p:ext uri="{BB962C8B-B14F-4D97-AF65-F5344CB8AC3E}">
        <p14:creationId xmlns:p14="http://schemas.microsoft.com/office/powerpoint/2010/main" val="5943890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pos="619">
          <p15:clr>
            <a:srgbClr val="FBAE40"/>
          </p15:clr>
        </p15:guide>
        <p15:guide id="2" pos="7423">
          <p15:clr>
            <a:srgbClr val="FBAE40"/>
          </p15:clr>
        </p15:guide>
        <p15:guide id="3" orient="horz" pos="1094">
          <p15:clr>
            <a:srgbClr val="FBAE40"/>
          </p15:clr>
        </p15:guide>
        <p15:guide id="4" orient="horz" pos="4085">
          <p15:clr>
            <a:srgbClr val="FBAE40"/>
          </p15:clr>
        </p15:guide>
      </p15:sldGuideLst>
    </p:ext>
  </p:extLst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91221238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7977305"/>
      </p:ext>
    </p:extLst>
  </p:cSld>
  <p:clrMapOvr>
    <a:masterClrMapping/>
  </p:clrMapOvr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535225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997916325"/>
      </p:ext>
    </p:extLst>
  </p:cSld>
  <p:clrMapOvr>
    <a:masterClrMapping/>
  </p:clrMapOvr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2830AFF-C79F-8066-8CFD-9D1BBE86F850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4326935"/>
      </p:ext>
    </p:extLst>
  </p:cSld>
  <p:clrMapOvr>
    <a:masterClrMapping/>
  </p:clrMapOvr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F5E32D8-CFDD-F631-47A3-76187F7EDAC0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762517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9228377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05969644"/>
      </p:ext>
    </p:extLst>
  </p:cSld>
  <p:clrMapOvr>
    <a:masterClrMapping/>
  </p:clrMapOvr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283294496"/>
      </p:ext>
    </p:extLst>
  </p:cSld>
  <p:clrMapOvr>
    <a:masterClrMapping/>
  </p:clrMapOvr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021859344"/>
      </p:ext>
    </p:extLst>
  </p:cSld>
  <p:clrMapOvr>
    <a:masterClrMapping/>
  </p:clrMapOvr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4D668BFB-7AE6-2B2A-0F1B-47040C06B97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5433699"/>
      </p:ext>
    </p:extLst>
  </p:cSld>
  <p:clrMapOvr>
    <a:masterClrMapping/>
  </p:clrMapOvr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AEF0978F-90E4-D76B-961C-72805ADE8C8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27041134"/>
      </p:ext>
    </p:extLst>
  </p:cSld>
  <p:clrMapOvr>
    <a:masterClrMapping/>
  </p:clrMapOvr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1E63B53E-5502-7482-F8B9-A7C4C1E2D8F9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6840929"/>
      </p:ext>
    </p:extLst>
  </p:cSld>
  <p:clrMapOvr>
    <a:masterClrMapping/>
  </p:clrMapOvr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3338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97986755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760796223"/>
      </p:ext>
    </p:extLst>
  </p:cSld>
  <p:clrMapOvr>
    <a:masterClrMapping/>
  </p:clrMapOvr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12729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39371276"/>
      </p:ext>
    </p:extLst>
  </p:cSld>
  <p:clrMapOvr>
    <a:masterClrMapping/>
  </p:clrMapOvr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3144206"/>
      </p:ext>
    </p:extLst>
  </p:cSld>
  <p:clrMapOvr>
    <a:masterClrMapping/>
  </p:clrMapOvr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87001206"/>
      </p:ext>
    </p:extLst>
  </p:cSld>
  <p:clrMapOvr>
    <a:masterClrMapping/>
  </p:clrMapOvr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33286840"/>
      </p:ext>
    </p:extLst>
  </p:cSld>
  <p:clrMapOvr>
    <a:masterClrMapping/>
  </p:clrMapOvr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45321017"/>
      </p:ext>
    </p:extLst>
  </p:cSld>
  <p:clrMapOvr>
    <a:masterClrMapping/>
  </p:clrMapOvr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4494749"/>
      </p:ext>
    </p:extLst>
  </p:cSld>
  <p:clrMapOvr>
    <a:masterClrMapping/>
  </p:clrMapOvr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1A47C7E3-6F65-C6E0-1009-5B494C29640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52504483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B46AFC3-49DA-CB60-1E4D-C6242C7D9C7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58080058"/>
      </p:ext>
    </p:extLst>
  </p:cSld>
  <p:clrMapOvr>
    <a:masterClrMapping/>
  </p:clrMapOvr>
</p:sldLayout>
</file>

<file path=ppt/slideLayouts/slideLayout20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E289095F-CBA9-0776-ED0A-FAB03D73517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255529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48346407"/>
      </p:ext>
    </p:extLst>
  </p:cSld>
  <p:clrMapOvr>
    <a:masterClrMapping/>
  </p:clrMapOvr>
</p:sldLayout>
</file>

<file path=ppt/slideLayouts/slideLayout2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DA5B50F6-35F7-718C-1F0C-C5B564CDF9E5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48917120"/>
      </p:ext>
    </p:extLst>
  </p:cSld>
  <p:clrMapOvr>
    <a:masterClrMapping/>
  </p:clrMapOvr>
</p:sldLayout>
</file>

<file path=ppt/slideLayouts/slideLayout2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380253169"/>
      </p:ext>
    </p:extLst>
  </p:cSld>
  <p:clrMapOvr>
    <a:masterClrMapping/>
  </p:clrMapOvr>
</p:sldLayout>
</file>

<file path=ppt/slideLayouts/slideLayout2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820359512"/>
      </p:ext>
    </p:extLst>
  </p:cSld>
  <p:clrMapOvr>
    <a:masterClrMapping/>
  </p:clrMapOvr>
</p:sldLayout>
</file>

<file path=ppt/slideLayouts/slideLayout2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B3EF41C1-FAFA-0CC5-16FE-9D109EF9891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3492682"/>
      </p:ext>
    </p:extLst>
  </p:cSld>
  <p:clrMapOvr>
    <a:masterClrMapping/>
  </p:clrMapOvr>
</p:sldLayout>
</file>

<file path=ppt/slideLayouts/slideLayout2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709724196"/>
      </p:ext>
    </p:extLst>
  </p:cSld>
  <p:clrMapOvr>
    <a:masterClrMapping/>
  </p:clrMapOvr>
</p:sldLayout>
</file>

<file path=ppt/slideLayouts/slideLayout2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11026272"/>
      </p:ext>
    </p:extLst>
  </p:cSld>
  <p:clrMapOvr>
    <a:masterClrMapping/>
  </p:clrMapOvr>
</p:sldLayout>
</file>

<file path=ppt/slideLayouts/slideLayout2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50536896"/>
      </p:ext>
    </p:extLst>
  </p:cSld>
  <p:clrMapOvr>
    <a:masterClrMapping/>
  </p:clrMapOvr>
</p:sldLayout>
</file>

<file path=ppt/slideLayouts/slideLayout2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895011144"/>
      </p:ext>
    </p:extLst>
  </p:cSld>
  <p:clrMapOvr>
    <a:masterClrMapping/>
  </p:clrMapOvr>
</p:sldLayout>
</file>

<file path=ppt/slideLayouts/slideLayout2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123263971"/>
      </p:ext>
    </p:extLst>
  </p:cSld>
  <p:clrMapOvr>
    <a:masterClrMapping/>
  </p:clrMapOvr>
</p:sldLayout>
</file>

<file path=ppt/slideLayouts/slideLayout2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4958703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149544736"/>
      </p:ext>
    </p:extLst>
  </p:cSld>
  <p:clrMapOvr>
    <a:masterClrMapping/>
  </p:clrMapOvr>
</p:sldLayout>
</file>

<file path=ppt/slideLayouts/slideLayout2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465184026"/>
      </p:ext>
    </p:extLst>
  </p:cSld>
  <p:clrMapOvr>
    <a:masterClrMapping/>
  </p:clrMapOvr>
</p:sldLayout>
</file>

<file path=ppt/slideLayouts/slideLayout2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0959865"/>
      </p:ext>
    </p:extLst>
  </p:cSld>
  <p:clrMapOvr>
    <a:masterClrMapping/>
  </p:clrMapOvr>
</p:sldLayout>
</file>

<file path=ppt/slideLayouts/slideLayout2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E04968-7379-7B69-6FE0-4E0FCE33709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7130328"/>
      </p:ext>
    </p:extLst>
  </p:cSld>
  <p:clrMapOvr>
    <a:masterClrMapping/>
  </p:clrMapOvr>
</p:sldLayout>
</file>

<file path=ppt/slideLayouts/slideLayout2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66575357"/>
      </p:ext>
    </p:extLst>
  </p:cSld>
  <p:clrMapOvr>
    <a:masterClrMapping/>
  </p:clrMapOvr>
</p:sldLayout>
</file>

<file path=ppt/slideLayouts/slideLayout2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316893570"/>
      </p:ext>
    </p:extLst>
  </p:cSld>
  <p:clrMapOvr>
    <a:masterClrMapping/>
  </p:clrMapOvr>
</p:sldLayout>
</file>

<file path=ppt/slideLayouts/slideLayout2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468448687"/>
      </p:ext>
    </p:extLst>
  </p:cSld>
  <p:clrMapOvr>
    <a:masterClrMapping/>
  </p:clrMapOvr>
</p:sldLayout>
</file>

<file path=ppt/slideLayouts/slideLayout2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19326242"/>
      </p:ext>
    </p:extLst>
  </p:cSld>
  <p:clrMapOvr>
    <a:masterClrMapping/>
  </p:clrMapOvr>
</p:sldLayout>
</file>

<file path=ppt/slideLayouts/slideLayout2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1085884062"/>
      </p:ext>
    </p:extLst>
  </p:cSld>
  <p:clrMapOvr>
    <a:masterClrMapping/>
  </p:clrMapOvr>
</p:sldLayout>
</file>

<file path=ppt/slideLayouts/slideLayout2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503879885"/>
      </p:ext>
    </p:extLst>
  </p:cSld>
  <p:clrMapOvr>
    <a:masterClrMapping/>
  </p:clrMapOvr>
</p:sldLayout>
</file>

<file path=ppt/slideLayouts/slideLayout2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007588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75175485"/>
      </p:ext>
    </p:extLst>
  </p:cSld>
  <p:clrMapOvr>
    <a:masterClrMapping/>
  </p:clrMapOvr>
</p:sldLayout>
</file>

<file path=ppt/slideLayouts/slideLayout2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530B91A-AC76-0D0B-3122-59AC3FE7DF0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473955"/>
      </p:ext>
    </p:extLst>
  </p:cSld>
  <p:clrMapOvr>
    <a:masterClrMapping/>
  </p:clrMapOvr>
</p:sldLayout>
</file>

<file path=ppt/slideLayouts/slideLayout2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E6680901-742F-9F90-E2BD-3071E5352F3C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82016360"/>
      </p:ext>
    </p:extLst>
  </p:cSld>
  <p:clrMapOvr>
    <a:masterClrMapping/>
  </p:clrMapOvr>
</p:sldLayout>
</file>

<file path=ppt/slideLayouts/slideLayout2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6835C606-E1D6-1462-9E0B-EF1BA51DB003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466252"/>
      </p:ext>
    </p:extLst>
  </p:cSld>
  <p:clrMapOvr>
    <a:masterClrMapping/>
  </p:clrMapOvr>
</p:sldLayout>
</file>

<file path=ppt/slideLayouts/slideLayout2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60344701"/>
      </p:ext>
    </p:extLst>
  </p:cSld>
  <p:clrMapOvr>
    <a:masterClrMapping/>
  </p:clrMapOvr>
</p:sldLayout>
</file>

<file path=ppt/slideLayouts/slideLayout2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12326832"/>
      </p:ext>
    </p:extLst>
  </p:cSld>
  <p:clrMapOvr>
    <a:masterClrMapping/>
  </p:clrMapOvr>
</p:sldLayout>
</file>

<file path=ppt/slideLayouts/slideLayout2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46129199"/>
      </p:ext>
    </p:extLst>
  </p:cSld>
  <p:clrMapOvr>
    <a:masterClrMapping/>
  </p:clrMapOvr>
</p:sldLayout>
</file>

<file path=ppt/slideLayouts/slideLayout2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9AFF024E-B5F9-77F7-53E6-08A4BE4FFD8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80262441"/>
      </p:ext>
    </p:extLst>
  </p:cSld>
  <p:clrMapOvr>
    <a:masterClrMapping/>
  </p:clrMapOvr>
</p:sldLayout>
</file>

<file path=ppt/slideLayouts/slideLayout2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4ABA5A0-51B8-4818-9374-54259B4E473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58275355"/>
      </p:ext>
    </p:extLst>
  </p:cSld>
  <p:clrMapOvr>
    <a:masterClrMapping/>
  </p:clrMapOvr>
</p:sldLayout>
</file>

<file path=ppt/slideLayouts/slideLayout2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9C0D61-332A-349D-DFB5-C11361A208C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546830"/>
      </p:ext>
    </p:extLst>
  </p:cSld>
  <p:clrMapOvr>
    <a:masterClrMapping/>
  </p:clrMapOvr>
</p:sldLayout>
</file>

<file path=ppt/slideLayouts/slideLayout2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4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36587" y="682625"/>
            <a:ext cx="10918826" cy="5492750"/>
          </a:xfrm>
          <a:solidFill>
            <a:srgbClr val="EDE9E9"/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795D1678-4E58-3A7B-1F8A-65B93C05F775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2115318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4358292"/>
      </p:ext>
    </p:extLst>
  </p:cSld>
  <p:clrMapOvr>
    <a:masterClrMapping/>
  </p:clrMapOvr>
</p:sldLayout>
</file>

<file path=ppt/slideLayouts/slideLayout2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5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5">
            <a:extLst>
              <a:ext uri="{FF2B5EF4-FFF2-40B4-BE49-F238E27FC236}">
                <a16:creationId xmlns:a16="http://schemas.microsoft.com/office/drawing/2014/main" id="{C94CDDFE-B808-A462-BF7C-15A9ACEEE893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6095400" y="0"/>
            <a:ext cx="6096600" cy="6858000"/>
          </a:xfrm>
          <a:solidFill>
            <a:schemeClr val="bg1">
              <a:lumMod val="65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60966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-60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775B96F7-4A7C-DFEC-C1D3-76CA93197CF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61128180"/>
      </p:ext>
    </p:extLst>
  </p:cSld>
  <p:clrMapOvr>
    <a:masterClrMapping/>
  </p:clrMapOvr>
</p:sldLayout>
</file>

<file path=ppt/slideLayouts/slideLayout2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6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7D03372D-29D0-283E-9B2D-20EC828BD07A}"/>
              </a:ext>
            </a:extLst>
          </p:cNvPr>
          <p:cNvSpPr/>
          <p:nvPr/>
        </p:nvSpPr>
        <p:spPr>
          <a:xfrm rot="5400000">
            <a:off x="6337009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96192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206750" y="682625"/>
            <a:ext cx="8985250" cy="5492752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848100" y="682625"/>
            <a:ext cx="7706828" cy="5492750"/>
          </a:xfrm>
        </p:spPr>
        <p:txBody>
          <a:bodyPr numCol="1" spcCol="360000" anchor="ctr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Rounded Rectangle 3">
            <a:extLst>
              <a:ext uri="{FF2B5EF4-FFF2-40B4-BE49-F238E27FC236}">
                <a16:creationId xmlns:a16="http://schemas.microsoft.com/office/drawing/2014/main" id="{078752AD-89EB-4103-B2A4-8FFD72F2DDB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3EE651DD-8F8C-C327-83EE-5DF5D228E2B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1902698"/>
      </p:ext>
    </p:extLst>
  </p:cSld>
  <p:clrMapOvr>
    <a:masterClrMapping/>
  </p:clrMapOvr>
</p:sldLayout>
</file>

<file path=ppt/slideLayouts/slideLayout2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7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5">
            <a:extLst>
              <a:ext uri="{FF2B5EF4-FFF2-40B4-BE49-F238E27FC236}">
                <a16:creationId xmlns:a16="http://schemas.microsoft.com/office/drawing/2014/main" id="{B3A5AB9B-F36D-C97A-851D-0C3C055F8AB9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-600" y="4572001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95A686A2-DB4A-4300-3D5B-A3EBF888B49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1923450" y="4572001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09F4806A-5A04-4F83-1383-BACACC67A7C7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-600" y="2286001"/>
            <a:ext cx="12193200" cy="2286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2286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923450" y="0"/>
            <a:ext cx="10268550" cy="2286000"/>
          </a:xfrm>
          <a:gradFill flip="none" rotWithShape="1">
            <a:gsLst>
              <a:gs pos="0">
                <a:schemeClr val="tx1">
                  <a:alpha val="0"/>
                </a:schemeClr>
              </a:gs>
              <a:gs pos="100000">
                <a:schemeClr val="tx1">
                  <a:alpha val="70000"/>
                </a:schemeClr>
              </a:gs>
            </a:gsLst>
            <a:lin ang="0" scaled="1"/>
            <a:tileRect/>
          </a:gradFill>
        </p:spPr>
        <p:txBody>
          <a:bodyPr lIns="360000" tIns="0" rIns="1260000" bIns="0" numCol="1" spcCol="360000" anchor="ctr"/>
          <a:lstStyle>
            <a:lvl1pPr algn="r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A57C6F1D-0082-D95A-B441-BCB17D23837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0" y="2286001"/>
            <a:ext cx="10268550" cy="2286000"/>
          </a:xfrm>
          <a:gradFill flip="none" rotWithShape="1">
            <a:gsLst>
              <a:gs pos="0">
                <a:schemeClr val="tx1">
                  <a:alpha val="70000"/>
                </a:schemeClr>
              </a:gs>
              <a:gs pos="100000">
                <a:schemeClr val="tx1">
                  <a:alpha val="0"/>
                </a:schemeClr>
              </a:gs>
            </a:gsLst>
            <a:lin ang="0" scaled="1"/>
            <a:tileRect/>
          </a:gradFill>
        </p:spPr>
        <p:txBody>
          <a:bodyPr lIns="1260000" tIns="0" rIns="360000" bIns="0" numCol="1" spcCol="360000" anchor="ctr"/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733DFD3D-D3FB-B36C-9D33-9A5E2CABEA3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3192348"/>
      </p:ext>
    </p:extLst>
  </p:cSld>
  <p:clrMapOvr>
    <a:masterClrMapping/>
  </p:clrMapOvr>
</p:sldLayout>
</file>

<file path=ppt/slideLayouts/slideLayout2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81575"/>
            <a:ext cx="4720182" cy="764359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</p:spTree>
    <p:extLst>
      <p:ext uri="{BB962C8B-B14F-4D97-AF65-F5344CB8AC3E}">
        <p14:creationId xmlns:p14="http://schemas.microsoft.com/office/powerpoint/2010/main" val="3340078801"/>
      </p:ext>
    </p:extLst>
  </p:cSld>
  <p:clrMapOvr>
    <a:masterClrMapping/>
  </p:clrMapOvr>
</p:sldLayout>
</file>

<file path=ppt/slideLayouts/slideLayout2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15139"/>
            <a:ext cx="3322320" cy="537997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D2C025E0-A506-1143-A09B-93B6849AD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895206"/>
            <a:ext cx="5486400" cy="780893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Client Name x</a:t>
            </a:r>
          </a:p>
        </p:txBody>
      </p:sp>
    </p:spTree>
    <p:extLst>
      <p:ext uri="{BB962C8B-B14F-4D97-AF65-F5344CB8AC3E}">
        <p14:creationId xmlns:p14="http://schemas.microsoft.com/office/powerpoint/2010/main" val="1418754247"/>
      </p:ext>
    </p:extLst>
  </p:cSld>
  <p:clrMapOvr>
    <a:masterClrMapping/>
  </p:clrMapOvr>
</p:sldLayout>
</file>

<file path=ppt/slideLayouts/slideLayout2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8909153"/>
      </p:ext>
    </p:extLst>
  </p:cSld>
  <p:clrMapOvr>
    <a:masterClrMapping/>
  </p:clrMapOvr>
</p:sldLayout>
</file>

<file path=ppt/slideLayouts/slideLayout2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4395211"/>
      </p:ext>
    </p:extLst>
  </p:cSld>
  <p:clrMapOvr>
    <a:masterClrMapping/>
  </p:clrMapOvr>
</p:sldLayout>
</file>

<file path=ppt/slideLayouts/slideLayout2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whit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7A120D8-5636-9A4F-8906-32FAC15D5D2A}"/>
              </a:ext>
            </a:extLst>
          </p:cNvPr>
          <p:cNvSpPr/>
          <p:nvPr/>
        </p:nvSpPr>
        <p:spPr>
          <a:xfrm>
            <a:off x="0" y="0"/>
            <a:ext cx="12192000" cy="192024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737705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Freeform 11">
            <a:extLst>
              <a:ext uri="{FF2B5EF4-FFF2-40B4-BE49-F238E27FC236}">
                <a16:creationId xmlns:a16="http://schemas.microsoft.com/office/drawing/2014/main" id="{63FF5F25-B55D-EF45-8D4F-5FA1FB0ABF04}"/>
              </a:ext>
            </a:extLst>
          </p:cNvPr>
          <p:cNvSpPr/>
          <p:nvPr/>
        </p:nvSpPr>
        <p:spPr>
          <a:xfrm>
            <a:off x="4029890" y="1920240"/>
            <a:ext cx="8162110" cy="4575810"/>
          </a:xfrm>
          <a:custGeom>
            <a:avLst/>
            <a:gdLst>
              <a:gd name="connsiteX0" fmla="*/ 1143953 w 8162110"/>
              <a:gd name="connsiteY0" fmla="*/ 0 h 4575810"/>
              <a:gd name="connsiteX1" fmla="*/ 8162110 w 8162110"/>
              <a:gd name="connsiteY1" fmla="*/ 0 h 4575810"/>
              <a:gd name="connsiteX2" fmla="*/ 8162110 w 8162110"/>
              <a:gd name="connsiteY2" fmla="*/ 4575810 h 4575810"/>
              <a:gd name="connsiteX3" fmla="*/ 2318110 w 8162110"/>
              <a:gd name="connsiteY3" fmla="*/ 4575810 h 4575810"/>
              <a:gd name="connsiteX4" fmla="*/ 2066110 w 8162110"/>
              <a:gd name="connsiteY4" fmla="*/ 4323810 h 4575810"/>
              <a:gd name="connsiteX5" fmla="*/ 1814110 w 8162110"/>
              <a:gd name="connsiteY5" fmla="*/ 4575810 h 4575810"/>
              <a:gd name="connsiteX6" fmla="*/ 0 w 8162110"/>
              <a:gd name="connsiteY6" fmla="*/ 4575810 h 457581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62110" h="4575810">
                <a:moveTo>
                  <a:pt x="1143953" y="0"/>
                </a:moveTo>
                <a:lnTo>
                  <a:pt x="8162110" y="0"/>
                </a:lnTo>
                <a:lnTo>
                  <a:pt x="8162110" y="4575810"/>
                </a:lnTo>
                <a:lnTo>
                  <a:pt x="2318110" y="4575810"/>
                </a:lnTo>
                <a:cubicBezTo>
                  <a:pt x="2318110" y="4436634"/>
                  <a:pt x="2205286" y="4323810"/>
                  <a:pt x="2066110" y="4323810"/>
                </a:cubicBezTo>
                <a:cubicBezTo>
                  <a:pt x="1926934" y="4323810"/>
                  <a:pt x="1814110" y="4436634"/>
                  <a:pt x="1814110" y="4575810"/>
                </a:cubicBezTo>
                <a:lnTo>
                  <a:pt x="0" y="4575810"/>
                </a:lnTo>
                <a:close/>
              </a:path>
            </a:pathLst>
          </a:custGeom>
          <a:solidFill>
            <a:schemeClr val="accent5"/>
          </a:solidFill>
          <a:ln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7FEBA9-C2CA-8346-AF90-6D5EF450509E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124037299"/>
      </p:ext>
    </p:extLst>
  </p:cSld>
  <p:clrMapOvr>
    <a:masterClrMapping/>
  </p:clrMapOvr>
</p:sldLayout>
</file>

<file path=ppt/slideLayouts/slideLayout2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AAD76E50-EFA7-1C46-804E-CB0D4D316B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72057376"/>
      </p:ext>
    </p:extLst>
  </p:cSld>
  <p:clrMapOvr>
    <a:masterClrMapping/>
  </p:clrMapOvr>
</p:sldLayout>
</file>

<file path=ppt/slideLayouts/slideLayout2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6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0E98D378-AB82-9D45-BF79-EC8EF8269A5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0" y="0"/>
            <a:ext cx="3965834" cy="6497638"/>
          </a:xfrm>
          <a:custGeom>
            <a:avLst/>
            <a:gdLst>
              <a:gd name="connsiteX0" fmla="*/ 0 w 3965834"/>
              <a:gd name="connsiteY0" fmla="*/ 0 h 6497638"/>
              <a:gd name="connsiteX1" fmla="*/ 3965834 w 3965834"/>
              <a:gd name="connsiteY1" fmla="*/ 0 h 6497638"/>
              <a:gd name="connsiteX2" fmla="*/ 2341425 w 3965834"/>
              <a:gd name="connsiteY2" fmla="*/ 6497638 h 6497638"/>
              <a:gd name="connsiteX3" fmla="*/ 0 w 396583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965834" h="6497638">
                <a:moveTo>
                  <a:pt x="0" y="0"/>
                </a:moveTo>
                <a:lnTo>
                  <a:pt x="3965834" y="0"/>
                </a:lnTo>
                <a:lnTo>
                  <a:pt x="234142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3018270" cy="2441944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72270" y="609600"/>
            <a:ext cx="7511396" cy="563874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136C455E-8F77-4547-BEB5-D5A8EEA43578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90136558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781445742"/>
      </p:ext>
    </p:extLst>
  </p:cSld>
  <p:clrMapOvr>
    <a:masterClrMapping/>
  </p:clrMapOvr>
</p:sldLayout>
</file>

<file path=ppt/slideLayouts/slideLayout2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9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3629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362725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89CDF396-1F79-0A43-A175-442AB7F6FB19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61840" y="362"/>
            <a:ext cx="6583680" cy="6497638"/>
          </a:xfrm>
          <a:custGeom>
            <a:avLst/>
            <a:gdLst>
              <a:gd name="connsiteX0" fmla="*/ 1624410 w 6583680"/>
              <a:gd name="connsiteY0" fmla="*/ 0 h 6497638"/>
              <a:gd name="connsiteX1" fmla="*/ 6583680 w 6583680"/>
              <a:gd name="connsiteY1" fmla="*/ 0 h 6497638"/>
              <a:gd name="connsiteX2" fmla="*/ 4959271 w 6583680"/>
              <a:gd name="connsiteY2" fmla="*/ 6497638 h 6497638"/>
              <a:gd name="connsiteX3" fmla="*/ 1785964 w 6583680"/>
              <a:gd name="connsiteY3" fmla="*/ 6497638 h 6497638"/>
              <a:gd name="connsiteX4" fmla="*/ 1786160 w 6583680"/>
              <a:gd name="connsiteY4" fmla="*/ 6495688 h 6497638"/>
              <a:gd name="connsiteX5" fmla="*/ 1534160 w 6583680"/>
              <a:gd name="connsiteY5" fmla="*/ 6243688 h 6497638"/>
              <a:gd name="connsiteX6" fmla="*/ 1282160 w 6583680"/>
              <a:gd name="connsiteY6" fmla="*/ 6495688 h 6497638"/>
              <a:gd name="connsiteX7" fmla="*/ 1282357 w 6583680"/>
              <a:gd name="connsiteY7" fmla="*/ 6497638 h 6497638"/>
              <a:gd name="connsiteX8" fmla="*/ 0 w 658368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583680" h="6497638">
                <a:moveTo>
                  <a:pt x="1624410" y="0"/>
                </a:moveTo>
                <a:lnTo>
                  <a:pt x="6583680" y="0"/>
                </a:lnTo>
                <a:lnTo>
                  <a:pt x="4959271" y="6497638"/>
                </a:lnTo>
                <a:lnTo>
                  <a:pt x="1785964" y="6497638"/>
                </a:lnTo>
                <a:lnTo>
                  <a:pt x="1786160" y="6495688"/>
                </a:lnTo>
                <a:cubicBezTo>
                  <a:pt x="1786160" y="6356512"/>
                  <a:pt x="1673336" y="6243688"/>
                  <a:pt x="1534160" y="6243688"/>
                </a:cubicBezTo>
                <a:cubicBezTo>
                  <a:pt x="1394984" y="6243688"/>
                  <a:pt x="1282160" y="6356512"/>
                  <a:pt x="1282160" y="6495688"/>
                </a:cubicBezTo>
                <a:lnTo>
                  <a:pt x="128235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31605003"/>
      </p:ext>
    </p:extLst>
  </p:cSld>
  <p:clrMapOvr>
    <a:masterClrMapping/>
  </p:clrMapOvr>
</p:sldLayout>
</file>

<file path=ppt/slideLayouts/slideLayout2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2_Basic - gre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25392949-F42B-1349-B6ED-F209823B198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1365923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741514 w 12192000"/>
              <a:gd name="connsiteY3" fmla="*/ 6497638 h 6497638"/>
              <a:gd name="connsiteX4" fmla="*/ 0 w 12192000"/>
              <a:gd name="connsiteY4" fmla="*/ 0 h 6497638"/>
              <a:gd name="connsiteX5" fmla="*/ 5866986 w 12192000"/>
              <a:gd name="connsiteY5" fmla="*/ 0 h 6497638"/>
              <a:gd name="connsiteX6" fmla="*/ 4242577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1365923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741514" y="6497638"/>
                </a:lnTo>
                <a:close/>
                <a:moveTo>
                  <a:pt x="0" y="0"/>
                </a:moveTo>
                <a:lnTo>
                  <a:pt x="5866986" y="0"/>
                </a:lnTo>
                <a:lnTo>
                  <a:pt x="4242577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04012001"/>
      </p:ext>
    </p:extLst>
  </p:cSld>
  <p:clrMapOvr>
    <a:masterClrMapping/>
  </p:clrMapOvr>
</p:sldLayout>
</file>

<file path=ppt/slideLayouts/slideLayout2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0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224744CA-31FB-8D46-BA94-61401A91EF21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1" y="0"/>
            <a:ext cx="4948039" cy="6497638"/>
          </a:xfrm>
          <a:custGeom>
            <a:avLst/>
            <a:gdLst>
              <a:gd name="connsiteX0" fmla="*/ 0 w 4948039"/>
              <a:gd name="connsiteY0" fmla="*/ 0 h 6497638"/>
              <a:gd name="connsiteX1" fmla="*/ 1045171 w 4948039"/>
              <a:gd name="connsiteY1" fmla="*/ 0 h 6497638"/>
              <a:gd name="connsiteX2" fmla="*/ 2641600 w 4948039"/>
              <a:gd name="connsiteY2" fmla="*/ 0 h 6497638"/>
              <a:gd name="connsiteX3" fmla="*/ 4948039 w 4948039"/>
              <a:gd name="connsiteY3" fmla="*/ 0 h 6497638"/>
              <a:gd name="connsiteX4" fmla="*/ 3323630 w 4948039"/>
              <a:gd name="connsiteY4" fmla="*/ 6497638 h 6497638"/>
              <a:gd name="connsiteX5" fmla="*/ 0 w 4948039"/>
              <a:gd name="connsiteY5" fmla="*/ 6497638 h 6497638"/>
              <a:gd name="connsiteX6" fmla="*/ 0 w 4948039"/>
              <a:gd name="connsiteY6" fmla="*/ 4180683 h 6497638"/>
              <a:gd name="connsiteX7" fmla="*/ 0 w 4948039"/>
              <a:gd name="connsiteY7" fmla="*/ 1391920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0" y="0"/>
                </a:moveTo>
                <a:lnTo>
                  <a:pt x="1045171" y="0"/>
                </a:lnTo>
                <a:lnTo>
                  <a:pt x="2641600" y="0"/>
                </a:lnTo>
                <a:lnTo>
                  <a:pt x="4948039" y="0"/>
                </a:lnTo>
                <a:lnTo>
                  <a:pt x="3323630" y="6497638"/>
                </a:lnTo>
                <a:lnTo>
                  <a:pt x="0" y="6497638"/>
                </a:lnTo>
                <a:lnTo>
                  <a:pt x="0" y="4180683"/>
                </a:lnTo>
                <a:lnTo>
                  <a:pt x="0" y="139192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1756ECA7-E48C-0348-9B3B-5EB99CC875DD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243962" y="0"/>
            <a:ext cx="4948039" cy="6497638"/>
          </a:xfrm>
          <a:custGeom>
            <a:avLst/>
            <a:gdLst>
              <a:gd name="connsiteX0" fmla="*/ 1624410 w 4948039"/>
              <a:gd name="connsiteY0" fmla="*/ 0 h 6497638"/>
              <a:gd name="connsiteX1" fmla="*/ 4948039 w 4948039"/>
              <a:gd name="connsiteY1" fmla="*/ 0 h 6497638"/>
              <a:gd name="connsiteX2" fmla="*/ 4948039 w 4948039"/>
              <a:gd name="connsiteY2" fmla="*/ 2316957 h 6497638"/>
              <a:gd name="connsiteX3" fmla="*/ 4948039 w 4948039"/>
              <a:gd name="connsiteY3" fmla="*/ 5598160 h 6497638"/>
              <a:gd name="connsiteX4" fmla="*/ 4948039 w 4948039"/>
              <a:gd name="connsiteY4" fmla="*/ 6497638 h 6497638"/>
              <a:gd name="connsiteX5" fmla="*/ 3902869 w 4948039"/>
              <a:gd name="connsiteY5" fmla="*/ 6497638 h 6497638"/>
              <a:gd name="connsiteX6" fmla="*/ 2306439 w 4948039"/>
              <a:gd name="connsiteY6" fmla="*/ 6497638 h 6497638"/>
              <a:gd name="connsiteX7" fmla="*/ 0 w 4948039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948039" h="6497638">
                <a:moveTo>
                  <a:pt x="1624410" y="0"/>
                </a:moveTo>
                <a:lnTo>
                  <a:pt x="4948039" y="0"/>
                </a:lnTo>
                <a:lnTo>
                  <a:pt x="4948039" y="2316957"/>
                </a:lnTo>
                <a:lnTo>
                  <a:pt x="4948039" y="5598160"/>
                </a:lnTo>
                <a:lnTo>
                  <a:pt x="4948039" y="6497638"/>
                </a:lnTo>
                <a:lnTo>
                  <a:pt x="3902869" y="6497638"/>
                </a:lnTo>
                <a:lnTo>
                  <a:pt x="230643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Picture Placeholder 32">
            <a:extLst>
              <a:ext uri="{FF2B5EF4-FFF2-40B4-BE49-F238E27FC236}">
                <a16:creationId xmlns:a16="http://schemas.microsoft.com/office/drawing/2014/main" id="{C3FACA75-D11C-A445-BACF-8256874A5980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38639" y="0"/>
            <a:ext cx="6114723" cy="6497638"/>
          </a:xfrm>
          <a:custGeom>
            <a:avLst/>
            <a:gdLst>
              <a:gd name="connsiteX0" fmla="*/ 1624409 w 6114723"/>
              <a:gd name="connsiteY0" fmla="*/ 0 h 6497638"/>
              <a:gd name="connsiteX1" fmla="*/ 6114723 w 6114723"/>
              <a:gd name="connsiteY1" fmla="*/ 0 h 6497638"/>
              <a:gd name="connsiteX2" fmla="*/ 4490314 w 6114723"/>
              <a:gd name="connsiteY2" fmla="*/ 6497638 h 6497638"/>
              <a:gd name="connsiteX3" fmla="*/ 3309201 w 6114723"/>
              <a:gd name="connsiteY3" fmla="*/ 6497638 h 6497638"/>
              <a:gd name="connsiteX4" fmla="*/ 3309361 w 6114723"/>
              <a:gd name="connsiteY4" fmla="*/ 6496050 h 6497638"/>
              <a:gd name="connsiteX5" fmla="*/ 3057361 w 6114723"/>
              <a:gd name="connsiteY5" fmla="*/ 6244050 h 6497638"/>
              <a:gd name="connsiteX6" fmla="*/ 2805361 w 6114723"/>
              <a:gd name="connsiteY6" fmla="*/ 6496050 h 6497638"/>
              <a:gd name="connsiteX7" fmla="*/ 2805521 w 6114723"/>
              <a:gd name="connsiteY7" fmla="*/ 6497638 h 6497638"/>
              <a:gd name="connsiteX8" fmla="*/ 0 w 6114723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114723" h="6497638">
                <a:moveTo>
                  <a:pt x="1624409" y="0"/>
                </a:moveTo>
                <a:lnTo>
                  <a:pt x="6114723" y="0"/>
                </a:lnTo>
                <a:lnTo>
                  <a:pt x="4490314" y="6497638"/>
                </a:lnTo>
                <a:lnTo>
                  <a:pt x="3309201" y="6497638"/>
                </a:lnTo>
                <a:lnTo>
                  <a:pt x="3309361" y="6496050"/>
                </a:lnTo>
                <a:cubicBezTo>
                  <a:pt x="3309361" y="6356874"/>
                  <a:pt x="3196537" y="6244050"/>
                  <a:pt x="3057361" y="6244050"/>
                </a:cubicBezTo>
                <a:cubicBezTo>
                  <a:pt x="2918185" y="6244050"/>
                  <a:pt x="2805361" y="6356874"/>
                  <a:pt x="2805361" y="6496050"/>
                </a:cubicBezTo>
                <a:lnTo>
                  <a:pt x="2805521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itle 26">
            <a:extLst>
              <a:ext uri="{FF2B5EF4-FFF2-40B4-BE49-F238E27FC236}">
                <a16:creationId xmlns:a16="http://schemas.microsoft.com/office/drawing/2014/main" id="{850E4CA7-3414-3447-AE99-8AC0E9CEBB9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04871771"/>
      </p:ext>
    </p:extLst>
  </p:cSld>
  <p:clrMapOvr>
    <a:masterClrMapping/>
  </p:clrMapOvr>
</p:sldLayout>
</file>

<file path=ppt/slideLayouts/slideLayout2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50E8297A-1925-3442-B39E-AF6799BA71B2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12192000" cy="3138616"/>
          </a:xfrm>
          <a:solidFill>
            <a:schemeClr val="tx2">
              <a:lumMod val="20000"/>
              <a:lumOff val="80000"/>
            </a:schemeClr>
          </a:solidFill>
        </p:spPr>
        <p:txBody>
          <a:bodyPr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22048891"/>
      </p:ext>
    </p:extLst>
  </p:cSld>
  <p:clrMapOvr>
    <a:masterClrMapping/>
  </p:clrMapOvr>
</p:sldLayout>
</file>

<file path=ppt/slideLayouts/slideLayout2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7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54AEB6E9-5A32-C542-B22F-8A95F294D15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4100660" y="0"/>
            <a:ext cx="8091340" cy="6497638"/>
          </a:xfrm>
          <a:custGeom>
            <a:avLst/>
            <a:gdLst>
              <a:gd name="connsiteX0" fmla="*/ 0 w 8091340"/>
              <a:gd name="connsiteY0" fmla="*/ 0 h 6497638"/>
              <a:gd name="connsiteX1" fmla="*/ 8091340 w 8091340"/>
              <a:gd name="connsiteY1" fmla="*/ 0 h 6497638"/>
              <a:gd name="connsiteX2" fmla="*/ 8091340 w 8091340"/>
              <a:gd name="connsiteY2" fmla="*/ 6497638 h 6497638"/>
              <a:gd name="connsiteX3" fmla="*/ 2247180 w 8091340"/>
              <a:gd name="connsiteY3" fmla="*/ 6497638 h 6497638"/>
              <a:gd name="connsiteX4" fmla="*/ 2247340 w 8091340"/>
              <a:gd name="connsiteY4" fmla="*/ 6496050 h 6497638"/>
              <a:gd name="connsiteX5" fmla="*/ 1995340 w 8091340"/>
              <a:gd name="connsiteY5" fmla="*/ 6244050 h 6497638"/>
              <a:gd name="connsiteX6" fmla="*/ 1743340 w 8091340"/>
              <a:gd name="connsiteY6" fmla="*/ 6496050 h 6497638"/>
              <a:gd name="connsiteX7" fmla="*/ 1743500 w 8091340"/>
              <a:gd name="connsiteY7" fmla="*/ 6497638 h 6497638"/>
              <a:gd name="connsiteX8" fmla="*/ 0 w 809134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091340" h="6497638">
                <a:moveTo>
                  <a:pt x="0" y="0"/>
                </a:moveTo>
                <a:lnTo>
                  <a:pt x="8091340" y="0"/>
                </a:lnTo>
                <a:lnTo>
                  <a:pt x="8091340" y="6497638"/>
                </a:lnTo>
                <a:lnTo>
                  <a:pt x="2247180" y="6497638"/>
                </a:lnTo>
                <a:lnTo>
                  <a:pt x="2247340" y="6496050"/>
                </a:lnTo>
                <a:cubicBezTo>
                  <a:pt x="2247340" y="6356874"/>
                  <a:pt x="2134516" y="6244050"/>
                  <a:pt x="1995340" y="6244050"/>
                </a:cubicBezTo>
                <a:cubicBezTo>
                  <a:pt x="1856164" y="6244050"/>
                  <a:pt x="1743340" y="6356874"/>
                  <a:pt x="1743340" y="6496050"/>
                </a:cubicBezTo>
                <a:lnTo>
                  <a:pt x="17435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>
            <a:noAutofit/>
          </a:bodyPr>
          <a:lstStyle>
            <a:lvl1pPr>
              <a:defRPr sz="2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2436813"/>
            <a:ext cx="2514241" cy="311443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752214" y="609600"/>
            <a:ext cx="5831452" cy="5638741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831E4E05-C83C-1C4F-A555-318083D89DB0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207830" y="0"/>
            <a:ext cx="3622914" cy="6497638"/>
          </a:xfrm>
          <a:custGeom>
            <a:avLst/>
            <a:gdLst>
              <a:gd name="connsiteX0" fmla="*/ 0 w 3622914"/>
              <a:gd name="connsiteY0" fmla="*/ 0 h 6497638"/>
              <a:gd name="connsiteX1" fmla="*/ 1998505 w 3622914"/>
              <a:gd name="connsiteY1" fmla="*/ 0 h 6497638"/>
              <a:gd name="connsiteX2" fmla="*/ 3622914 w 3622914"/>
              <a:gd name="connsiteY2" fmla="*/ 6497638 h 6497638"/>
              <a:gd name="connsiteX3" fmla="*/ 1624409 w 3622914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622914" h="6497638">
                <a:moveTo>
                  <a:pt x="0" y="0"/>
                </a:moveTo>
                <a:lnTo>
                  <a:pt x="1998505" y="0"/>
                </a:lnTo>
                <a:lnTo>
                  <a:pt x="3622914" y="6497638"/>
                </a:lnTo>
                <a:lnTo>
                  <a:pt x="1624409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3EB06D63-175D-524A-8C0D-287C5255EA82}"/>
              </a:ext>
            </a:extLst>
          </p:cNvPr>
          <p:cNvSpPr txBox="1"/>
          <p:nvPr/>
        </p:nvSpPr>
        <p:spPr>
          <a:xfrm>
            <a:off x="0" y="-427599"/>
            <a:ext cx="3034805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GB" sz="1400" i="1">
                <a:solidFill>
                  <a:schemeClr val="bg1"/>
                </a:solidFill>
              </a:rPr>
              <a:t>Change colour to match section</a:t>
            </a:r>
          </a:p>
        </p:txBody>
      </p:sp>
    </p:spTree>
    <p:extLst>
      <p:ext uri="{BB962C8B-B14F-4D97-AF65-F5344CB8AC3E}">
        <p14:creationId xmlns:p14="http://schemas.microsoft.com/office/powerpoint/2010/main" val="1897702166"/>
      </p:ext>
    </p:extLst>
  </p:cSld>
  <p:clrMapOvr>
    <a:masterClrMapping/>
  </p:clrMapOvr>
</p:sldLayout>
</file>

<file path=ppt/slideLayouts/slideLayout2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BA058B1E-06B9-194A-BDEE-F49C12F6683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621868" y="1063625"/>
            <a:ext cx="6570133" cy="4767263"/>
          </a:xfrm>
          <a:custGeom>
            <a:avLst/>
            <a:gdLst>
              <a:gd name="connsiteX0" fmla="*/ 1191816 w 6570133"/>
              <a:gd name="connsiteY0" fmla="*/ 0 h 4767263"/>
              <a:gd name="connsiteX1" fmla="*/ 6570133 w 6570133"/>
              <a:gd name="connsiteY1" fmla="*/ 0 h 4767263"/>
              <a:gd name="connsiteX2" fmla="*/ 6570133 w 6570133"/>
              <a:gd name="connsiteY2" fmla="*/ 4767263 h 4767263"/>
              <a:gd name="connsiteX3" fmla="*/ 0 w 6570133"/>
              <a:gd name="connsiteY3" fmla="*/ 4767263 h 4767263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70133" h="4767263">
                <a:moveTo>
                  <a:pt x="1191816" y="0"/>
                </a:moveTo>
                <a:lnTo>
                  <a:pt x="6570133" y="0"/>
                </a:lnTo>
                <a:lnTo>
                  <a:pt x="6570133" y="4767263"/>
                </a:lnTo>
                <a:lnTo>
                  <a:pt x="0" y="4767263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356893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50241678"/>
      </p:ext>
    </p:extLst>
  </p:cSld>
  <p:clrMapOvr>
    <a:masterClrMapping/>
  </p:clrMapOvr>
</p:sldLayout>
</file>

<file path=ppt/slideLayouts/slideLayout2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61345453"/>
      </p:ext>
    </p:extLst>
  </p:cSld>
  <p:clrMapOvr>
    <a:masterClrMapping/>
  </p:clrMapOvr>
</p:sldLayout>
</file>

<file path=ppt/slideLayouts/slideLayout2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7513084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79E272C5-D13A-D942-B952-1D833D58E877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31150" y="0"/>
            <a:ext cx="4060849" cy="6498000"/>
          </a:xfrm>
          <a:custGeom>
            <a:avLst/>
            <a:gdLst>
              <a:gd name="connsiteX0" fmla="*/ 1624500 w 4060848"/>
              <a:gd name="connsiteY0" fmla="*/ 0 h 6497999"/>
              <a:gd name="connsiteX1" fmla="*/ 4060848 w 4060848"/>
              <a:gd name="connsiteY1" fmla="*/ 0 h 6497999"/>
              <a:gd name="connsiteX2" fmla="*/ 4060848 w 4060848"/>
              <a:gd name="connsiteY2" fmla="*/ 6497999 h 6497999"/>
              <a:gd name="connsiteX3" fmla="*/ 0 w 4060848"/>
              <a:gd name="connsiteY3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0848" h="6497999">
                <a:moveTo>
                  <a:pt x="1624500" y="0"/>
                </a:moveTo>
                <a:lnTo>
                  <a:pt x="4060848" y="0"/>
                </a:lnTo>
                <a:lnTo>
                  <a:pt x="4060848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8869646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99049165"/>
      </p:ext>
    </p:extLst>
  </p:cSld>
  <p:clrMapOvr>
    <a:masterClrMapping/>
  </p:clrMapOvr>
</p:sldLayout>
</file>

<file path=ppt/slideLayouts/slideLayout2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1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71D84973-19DB-3C48-A938-6E1DACD5C28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2433084" y="0"/>
            <a:ext cx="9758915" cy="6501600"/>
          </a:xfrm>
          <a:custGeom>
            <a:avLst/>
            <a:gdLst>
              <a:gd name="connsiteX0" fmla="*/ 1624501 w 9758915"/>
              <a:gd name="connsiteY0" fmla="*/ 0 h 6501600"/>
              <a:gd name="connsiteX1" fmla="*/ 2400172 w 9758915"/>
              <a:gd name="connsiteY1" fmla="*/ 0 h 6501600"/>
              <a:gd name="connsiteX2" fmla="*/ 4060849 w 9758915"/>
              <a:gd name="connsiteY2" fmla="*/ 0 h 6501600"/>
              <a:gd name="connsiteX3" fmla="*/ 9758915 w 9758915"/>
              <a:gd name="connsiteY3" fmla="*/ 0 h 6501600"/>
              <a:gd name="connsiteX4" fmla="*/ 9758915 w 9758915"/>
              <a:gd name="connsiteY4" fmla="*/ 6501600 h 6501600"/>
              <a:gd name="connsiteX5" fmla="*/ 4060849 w 9758915"/>
              <a:gd name="connsiteY5" fmla="*/ 6501600 h 6501600"/>
              <a:gd name="connsiteX6" fmla="*/ 3913796 w 9758915"/>
              <a:gd name="connsiteY6" fmla="*/ 6501600 h 6501600"/>
              <a:gd name="connsiteX7" fmla="*/ 3914916 w 9758915"/>
              <a:gd name="connsiteY7" fmla="*/ 6496050 h 6501600"/>
              <a:gd name="connsiteX8" fmla="*/ 3662916 w 9758915"/>
              <a:gd name="connsiteY8" fmla="*/ 6244050 h 6501600"/>
              <a:gd name="connsiteX9" fmla="*/ 3410916 w 9758915"/>
              <a:gd name="connsiteY9" fmla="*/ 6496050 h 6501600"/>
              <a:gd name="connsiteX10" fmla="*/ 3412037 w 9758915"/>
              <a:gd name="connsiteY10" fmla="*/ 6501600 h 6501600"/>
              <a:gd name="connsiteX11" fmla="*/ 2400172 w 9758915"/>
              <a:gd name="connsiteY11" fmla="*/ 6501600 h 6501600"/>
              <a:gd name="connsiteX12" fmla="*/ 0 w 9758915"/>
              <a:gd name="connsiteY12" fmla="*/ 6501600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9758915" h="6501600">
                <a:moveTo>
                  <a:pt x="1624501" y="0"/>
                </a:moveTo>
                <a:lnTo>
                  <a:pt x="2400172" y="0"/>
                </a:lnTo>
                <a:lnTo>
                  <a:pt x="4060849" y="0"/>
                </a:lnTo>
                <a:lnTo>
                  <a:pt x="9758915" y="0"/>
                </a:lnTo>
                <a:lnTo>
                  <a:pt x="9758915" y="6501600"/>
                </a:lnTo>
                <a:lnTo>
                  <a:pt x="4060849" y="6501600"/>
                </a:lnTo>
                <a:lnTo>
                  <a:pt x="3913796" y="6501600"/>
                </a:lnTo>
                <a:lnTo>
                  <a:pt x="3914916" y="6496050"/>
                </a:lnTo>
                <a:cubicBezTo>
                  <a:pt x="3914916" y="6356874"/>
                  <a:pt x="3802092" y="6244050"/>
                  <a:pt x="3662916" y="6244050"/>
                </a:cubicBezTo>
                <a:cubicBezTo>
                  <a:pt x="3523740" y="6244050"/>
                  <a:pt x="3410916" y="6356874"/>
                  <a:pt x="3410916" y="6496050"/>
                </a:cubicBezTo>
                <a:lnTo>
                  <a:pt x="3412037" y="6501600"/>
                </a:lnTo>
                <a:lnTo>
                  <a:pt x="2400172" y="6501600"/>
                </a:lnTo>
                <a:lnTo>
                  <a:pt x="0" y="650160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115162" cy="341238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3961683"/>
      </p:ext>
    </p:extLst>
  </p:cSld>
  <p:clrMapOvr>
    <a:masterClrMapping/>
  </p:clrMapOvr>
</p:sldLayout>
</file>

<file path=ppt/slideLayouts/slideLayout2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62781729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452224754"/>
      </p:ext>
    </p:extLst>
  </p:cSld>
  <p:clrMapOvr>
    <a:masterClrMapping/>
  </p:clrMapOvr>
</p:sldLayout>
</file>

<file path=ppt/slideLayouts/slideLayout2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F5CB573B-2568-6246-9F01-9C335F79621D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231118" cy="6497638"/>
          </a:xfrm>
          <a:custGeom>
            <a:avLst/>
            <a:gdLst>
              <a:gd name="connsiteX0" fmla="*/ 0 w 6231118"/>
              <a:gd name="connsiteY0" fmla="*/ 0 h 6497638"/>
              <a:gd name="connsiteX1" fmla="*/ 6231118 w 6231118"/>
              <a:gd name="connsiteY1" fmla="*/ 0 h 6497638"/>
              <a:gd name="connsiteX2" fmla="*/ 4606709 w 6231118"/>
              <a:gd name="connsiteY2" fmla="*/ 6497638 h 6497638"/>
              <a:gd name="connsiteX3" fmla="*/ 0 w 6231118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231118" h="6497638">
                <a:moveTo>
                  <a:pt x="0" y="0"/>
                </a:moveTo>
                <a:lnTo>
                  <a:pt x="6231118" y="0"/>
                </a:lnTo>
                <a:lnTo>
                  <a:pt x="4606709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39F9F02D-42E6-8E46-8C4B-F728CEA443D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948113" y="609600"/>
            <a:ext cx="7635875" cy="5376421"/>
          </a:xfrm>
          <a:solidFill>
            <a:schemeClr val="accent5"/>
          </a:solidFill>
        </p:spPr>
        <p:txBody>
          <a:bodyPr>
            <a:norm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330048" cy="2548380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23208" y="871920"/>
            <a:ext cx="7360458" cy="5114101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80019679"/>
      </p:ext>
    </p:extLst>
  </p:cSld>
  <p:clrMapOvr>
    <a:masterClrMapping/>
  </p:clrMapOvr>
</p:sldLayout>
</file>

<file path=ppt/slideLayouts/slideLayout2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-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476D85D8-44D1-3346-A88C-E1C4318EBD4E}"/>
              </a:ext>
            </a:extLst>
          </p:cNvPr>
          <p:cNvSpPr/>
          <p:nvPr/>
        </p:nvSpPr>
        <p:spPr>
          <a:xfrm>
            <a:off x="0" y="0"/>
            <a:ext cx="6096000" cy="64980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197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4" y="6244050"/>
                  <a:pt x="5844000" y="6356874"/>
                  <a:pt x="5844000" y="6496050"/>
                </a:cubicBezTo>
                <a:lnTo>
                  <a:pt x="5844197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04753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5304753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01741548"/>
      </p:ext>
    </p:extLst>
  </p:cSld>
  <p:clrMapOvr>
    <a:masterClrMapping/>
  </p:clrMapOvr>
</p:sldLayout>
</file>

<file path=ppt/slideLayouts/slideLayout2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04482841"/>
      </p:ext>
    </p:extLst>
  </p:cSld>
  <p:clrMapOvr>
    <a:masterClrMapping/>
  </p:clrMapOvr>
</p:sldLayout>
</file>

<file path=ppt/slideLayouts/slideLayout2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image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52569D9-CE1C-EC4F-B932-F0ADE6E84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5999" y="1802342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C6EDB3-DD20-244A-A980-6A1FD175B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2466686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2F01659-8CFF-1A43-B4AE-8DD102C457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3131030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43A65C-73BE-6543-8FD4-911F06EFCC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9" y="3795374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16C2078-9A7F-AA44-B351-57E689A3C2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5999" y="4459718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C7FCC43-6167-0241-8E00-E6CDF85B9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9354" y="1802342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DFF8DF8-0C9B-8B46-B0B4-2371F11D310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969354" y="2466686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4A9762A-B8E1-2D48-820F-6869A93BB63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969353" y="3153100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594578-C69C-4343-8929-33038993FB8E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969353" y="3806964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5B61243-FB61-9E4D-A5DF-2275F80DD1E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969353" y="4457103"/>
            <a:ext cx="4860696" cy="528398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230284561"/>
      </p:ext>
    </p:extLst>
  </p:cSld>
  <p:clrMapOvr>
    <a:masterClrMapping/>
  </p:clrMapOvr>
</p:sldLayout>
</file>

<file path=ppt/slideLayouts/slideLayout2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E3FC6C-2F1E-FE41-BDBC-E6D440A60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5000" y="1704600"/>
            <a:ext cx="7902000" cy="3448800"/>
          </a:xfrm>
          <a:solidFill>
            <a:schemeClr val="bg1"/>
          </a:solidFill>
        </p:spPr>
        <p:txBody>
          <a:bodyPr lIns="360000" rIns="5184000" anchor="ctr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1"/>
            </a:lvl1pPr>
          </a:lstStyle>
          <a:p>
            <a:pPr lvl="0"/>
            <a:r>
              <a:rPr lang="en-GB"/>
              <a:t>Agenda slid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96E59D0-2D90-6947-A2A4-A20F81D620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94599" y="1704600"/>
            <a:ext cx="4752402" cy="3448800"/>
          </a:xfrm>
          <a:noFill/>
        </p:spPr>
        <p:txBody>
          <a:bodyPr lIns="90000" rIns="90000" anchor="ctr"/>
          <a:lstStyle>
            <a:lvl1pPr marL="622300" indent="-622300">
              <a:lnSpc>
                <a:spcPct val="80000"/>
              </a:lnSpc>
              <a:spcAft>
                <a:spcPts val="1800"/>
              </a:spcAft>
              <a:buClr>
                <a:schemeClr val="accent4"/>
              </a:buClr>
              <a:buFont typeface="+mj-lt"/>
              <a:buAutoNum type="arabicPeriod"/>
              <a:tabLst/>
              <a:defRPr sz="2400" b="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824784972"/>
      </p:ext>
    </p:extLst>
  </p:cSld>
  <p:clrMapOvr>
    <a:masterClrMapping/>
  </p:clrMapOvr>
</p:sldLayout>
</file>

<file path=ppt/slideLayouts/slideLayout2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4616495"/>
      </p:ext>
    </p:extLst>
  </p:cSld>
  <p:clrMapOvr>
    <a:masterClrMapping/>
  </p:clrMapOvr>
</p:sldLayout>
</file>

<file path=ppt/slideLayouts/slideLayout2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50 / 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17">
            <a:extLst>
              <a:ext uri="{FF2B5EF4-FFF2-40B4-BE49-F238E27FC236}">
                <a16:creationId xmlns:a16="http://schemas.microsoft.com/office/drawing/2014/main" id="{55C9D7FD-4372-984B-82EC-1682388A058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5286575" y="0"/>
            <a:ext cx="6905425" cy="6496050"/>
          </a:xfrm>
          <a:custGeom>
            <a:avLst/>
            <a:gdLst>
              <a:gd name="connsiteX0" fmla="*/ 1674037 w 6905425"/>
              <a:gd name="connsiteY0" fmla="*/ 0 h 6496050"/>
              <a:gd name="connsiteX1" fmla="*/ 6905425 w 6905425"/>
              <a:gd name="connsiteY1" fmla="*/ 0 h 6496050"/>
              <a:gd name="connsiteX2" fmla="*/ 6905425 w 6905425"/>
              <a:gd name="connsiteY2" fmla="*/ 6496050 h 6496050"/>
              <a:gd name="connsiteX3" fmla="*/ 1061425 w 6905425"/>
              <a:gd name="connsiteY3" fmla="*/ 6496050 h 6496050"/>
              <a:gd name="connsiteX4" fmla="*/ 809425 w 6905425"/>
              <a:gd name="connsiteY4" fmla="*/ 6244050 h 6496050"/>
              <a:gd name="connsiteX5" fmla="*/ 557425 w 6905425"/>
              <a:gd name="connsiteY5" fmla="*/ 6496050 h 6496050"/>
              <a:gd name="connsiteX6" fmla="*/ 0 w 6905425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6905425" h="6496050">
                <a:moveTo>
                  <a:pt x="1674037" y="0"/>
                </a:moveTo>
                <a:lnTo>
                  <a:pt x="6905425" y="0"/>
                </a:lnTo>
                <a:lnTo>
                  <a:pt x="6905425" y="6496050"/>
                </a:lnTo>
                <a:lnTo>
                  <a:pt x="1061425" y="6496050"/>
                </a:lnTo>
                <a:cubicBezTo>
                  <a:pt x="1061425" y="6356874"/>
                  <a:pt x="948601" y="6244050"/>
                  <a:pt x="809425" y="6244050"/>
                </a:cubicBezTo>
                <a:cubicBezTo>
                  <a:pt x="670249" y="6244050"/>
                  <a:pt x="557425" y="6356874"/>
                  <a:pt x="557425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tx2">
              <a:lumMod val="40000"/>
              <a:lumOff val="60000"/>
            </a:schemeClr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206A2BC-C7D2-1F4A-8EFA-C1457E5BF1A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960612" cy="6497638"/>
          </a:xfrm>
          <a:custGeom>
            <a:avLst/>
            <a:gdLst>
              <a:gd name="connsiteX0" fmla="*/ 0 w 6960612"/>
              <a:gd name="connsiteY0" fmla="*/ 0 h 6497638"/>
              <a:gd name="connsiteX1" fmla="*/ 6960612 w 6960612"/>
              <a:gd name="connsiteY1" fmla="*/ 0 h 6497638"/>
              <a:gd name="connsiteX2" fmla="*/ 5286165 w 6960612"/>
              <a:gd name="connsiteY2" fmla="*/ 6497638 h 6497638"/>
              <a:gd name="connsiteX3" fmla="*/ 0 w 6960612"/>
              <a:gd name="connsiteY3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960612" h="6497638"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D78697FE-A3E1-4148-AE49-9A90AB99A73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79858"/>
      </p:ext>
    </p:extLst>
  </p:cSld>
  <p:clrMapOvr>
    <a:masterClrMapping/>
  </p:clrMapOvr>
</p:sldLayout>
</file>

<file path=ppt/slideLayouts/slideLayout2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/ statement - image w/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4973380"/>
      </p:ext>
    </p:extLst>
  </p:cSld>
  <p:clrMapOvr>
    <a:masterClrMapping/>
  </p:clrMapOvr>
</p:sldLayout>
</file>

<file path=ppt/slideLayouts/slideLayout2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00" y="1620078"/>
            <a:ext cx="10965600" cy="3617843"/>
          </a:xfrm>
        </p:spPr>
        <p:txBody>
          <a:bodyPr anchor="ctr"/>
          <a:lstStyle>
            <a:lvl1pPr algn="ctr">
              <a:defRPr b="0"/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Graphic 6">
            <a:extLst>
              <a:ext uri="{FF2B5EF4-FFF2-40B4-BE49-F238E27FC236}">
                <a16:creationId xmlns:a16="http://schemas.microsoft.com/office/drawing/2014/main" id="{6AFF0189-2B17-044A-95A5-0CE65C3B7CF9}"/>
              </a:ext>
            </a:extLst>
          </p:cNvPr>
          <p:cNvSpPr/>
          <p:nvPr/>
        </p:nvSpPr>
        <p:spPr>
          <a:xfrm>
            <a:off x="5877609" y="1210876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Graphic 9">
            <a:extLst>
              <a:ext uri="{FF2B5EF4-FFF2-40B4-BE49-F238E27FC236}">
                <a16:creationId xmlns:a16="http://schemas.microsoft.com/office/drawing/2014/main" id="{8FDACD0F-927F-324F-81B7-9EB5A9A2FA9B}"/>
              </a:ext>
            </a:extLst>
          </p:cNvPr>
          <p:cNvSpPr/>
          <p:nvPr/>
        </p:nvSpPr>
        <p:spPr>
          <a:xfrm>
            <a:off x="5877608" y="5348453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chemeClr val="accent4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5196455"/>
      </p:ext>
    </p:extLst>
  </p:cSld>
  <p:clrMapOvr>
    <a:masterClrMapping/>
  </p:clrMapOvr>
</p:sldLayout>
</file>

<file path=ppt/slideLayouts/slideLayout2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490D2185-5F86-7749-BB4E-183109B4026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2192000 w 12192000"/>
              <a:gd name="connsiteY0" fmla="*/ 2425083 h 6497638"/>
              <a:gd name="connsiteX1" fmla="*/ 12192000 w 12192000"/>
              <a:gd name="connsiteY1" fmla="*/ 6496050 h 6497638"/>
              <a:gd name="connsiteX2" fmla="*/ 11143308 w 12192000"/>
              <a:gd name="connsiteY2" fmla="*/ 6496050 h 6497638"/>
              <a:gd name="connsiteX3" fmla="*/ 0 w 12192000"/>
              <a:gd name="connsiteY3" fmla="*/ 0 h 6497638"/>
              <a:gd name="connsiteX4" fmla="*/ 6960612 w 12192000"/>
              <a:gd name="connsiteY4" fmla="*/ 0 h 6497638"/>
              <a:gd name="connsiteX5" fmla="*/ 5286165 w 12192000"/>
              <a:gd name="connsiteY5" fmla="*/ 6497638 h 6497638"/>
              <a:gd name="connsiteX6" fmla="*/ 0 w 12192000"/>
              <a:gd name="connsiteY6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6497638">
                <a:moveTo>
                  <a:pt x="12192000" y="2425083"/>
                </a:moveTo>
                <a:lnTo>
                  <a:pt x="12192000" y="6496050"/>
                </a:lnTo>
                <a:lnTo>
                  <a:pt x="11143308" y="6496050"/>
                </a:lnTo>
                <a:close/>
                <a:moveTo>
                  <a:pt x="0" y="0"/>
                </a:moveTo>
                <a:lnTo>
                  <a:pt x="6960612" y="0"/>
                </a:lnTo>
                <a:lnTo>
                  <a:pt x="5286165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3"/>
          </a:solidFill>
        </p:spPr>
        <p:txBody>
          <a:bodyPr wrap="square" anchor="ctr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781921-067E-D84A-964D-D16F6D724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93766" y="0"/>
            <a:ext cx="6116546" cy="3249000"/>
          </a:xfrm>
        </p:spPr>
        <p:txBody>
          <a:bodyPr tIns="0" bIns="0" anchor="b">
            <a:noAutofit/>
          </a:bodyPr>
          <a:lstStyle>
            <a:lvl1pPr>
              <a:defRPr sz="200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92ADA3-681B-4848-8013-ACCCDEB5DE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7963" y="3081200"/>
            <a:ext cx="4852349" cy="3169219"/>
          </a:xfrm>
        </p:spPr>
        <p:txBody>
          <a:bodyPr>
            <a:noAutofit/>
          </a:bodyPr>
          <a:lstStyle>
            <a:lvl1pPr>
              <a:lnSpc>
                <a:spcPts val="6000"/>
              </a:lnSpc>
              <a:spcAft>
                <a:spcPts val="0"/>
              </a:spcAft>
              <a:defRPr sz="6000" b="1" i="1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43F26965-B205-DB42-AEAF-942D75F53F5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769605" y="822037"/>
            <a:ext cx="3524708" cy="1865746"/>
          </a:xfrm>
          <a:custGeom>
            <a:avLst/>
            <a:gdLst>
              <a:gd name="connsiteX0" fmla="*/ 3242518 w 3524708"/>
              <a:gd name="connsiteY0" fmla="*/ 0 h 1865746"/>
              <a:gd name="connsiteX1" fmla="*/ 3524708 w 3524708"/>
              <a:gd name="connsiteY1" fmla="*/ 0 h 1865746"/>
              <a:gd name="connsiteX2" fmla="*/ 3044984 w 3524708"/>
              <a:gd name="connsiteY2" fmla="*/ 1865746 h 1865746"/>
              <a:gd name="connsiteX3" fmla="*/ 2762794 w 3524708"/>
              <a:gd name="connsiteY3" fmla="*/ 1865746 h 1865746"/>
              <a:gd name="connsiteX4" fmla="*/ 2689960 w 3524708"/>
              <a:gd name="connsiteY4" fmla="*/ 0 h 1865746"/>
              <a:gd name="connsiteX5" fmla="*/ 2972150 w 3524708"/>
              <a:gd name="connsiteY5" fmla="*/ 0 h 1865746"/>
              <a:gd name="connsiteX6" fmla="*/ 2492426 w 3524708"/>
              <a:gd name="connsiteY6" fmla="*/ 1865746 h 1865746"/>
              <a:gd name="connsiteX7" fmla="*/ 2210236 w 3524708"/>
              <a:gd name="connsiteY7" fmla="*/ 1865746 h 1865746"/>
              <a:gd name="connsiteX8" fmla="*/ 2137401 w 3524708"/>
              <a:gd name="connsiteY8" fmla="*/ 0 h 1865746"/>
              <a:gd name="connsiteX9" fmla="*/ 2419591 w 3524708"/>
              <a:gd name="connsiteY9" fmla="*/ 0 h 1865746"/>
              <a:gd name="connsiteX10" fmla="*/ 1939867 w 3524708"/>
              <a:gd name="connsiteY10" fmla="*/ 1865746 h 1865746"/>
              <a:gd name="connsiteX11" fmla="*/ 1657677 w 3524708"/>
              <a:gd name="connsiteY11" fmla="*/ 1865746 h 1865746"/>
              <a:gd name="connsiteX12" fmla="*/ 1584842 w 3524708"/>
              <a:gd name="connsiteY12" fmla="*/ 0 h 1865746"/>
              <a:gd name="connsiteX13" fmla="*/ 1867032 w 3524708"/>
              <a:gd name="connsiteY13" fmla="*/ 0 h 1865746"/>
              <a:gd name="connsiteX14" fmla="*/ 1387308 w 3524708"/>
              <a:gd name="connsiteY14" fmla="*/ 1865746 h 1865746"/>
              <a:gd name="connsiteX15" fmla="*/ 1105118 w 3524708"/>
              <a:gd name="connsiteY15" fmla="*/ 1865746 h 1865746"/>
              <a:gd name="connsiteX16" fmla="*/ 1032283 w 3524708"/>
              <a:gd name="connsiteY16" fmla="*/ 0 h 1865746"/>
              <a:gd name="connsiteX17" fmla="*/ 1314473 w 3524708"/>
              <a:gd name="connsiteY17" fmla="*/ 0 h 1865746"/>
              <a:gd name="connsiteX18" fmla="*/ 834749 w 3524708"/>
              <a:gd name="connsiteY18" fmla="*/ 1865746 h 1865746"/>
              <a:gd name="connsiteX19" fmla="*/ 552559 w 3524708"/>
              <a:gd name="connsiteY19" fmla="*/ 1865746 h 1865746"/>
              <a:gd name="connsiteX20" fmla="*/ 479724 w 3524708"/>
              <a:gd name="connsiteY20" fmla="*/ 0 h 1865746"/>
              <a:gd name="connsiteX21" fmla="*/ 761914 w 3524708"/>
              <a:gd name="connsiteY21" fmla="*/ 0 h 1865746"/>
              <a:gd name="connsiteX22" fmla="*/ 282190 w 3524708"/>
              <a:gd name="connsiteY22" fmla="*/ 1865746 h 1865746"/>
              <a:gd name="connsiteX23" fmla="*/ 0 w 3524708"/>
              <a:gd name="connsiteY23" fmla="*/ 1865746 h 18657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3524708" h="1865746">
                <a:moveTo>
                  <a:pt x="3242518" y="0"/>
                </a:moveTo>
                <a:lnTo>
                  <a:pt x="3524708" y="0"/>
                </a:lnTo>
                <a:lnTo>
                  <a:pt x="3044984" y="1865746"/>
                </a:lnTo>
                <a:lnTo>
                  <a:pt x="2762794" y="1865746"/>
                </a:lnTo>
                <a:close/>
                <a:moveTo>
                  <a:pt x="2689960" y="0"/>
                </a:moveTo>
                <a:lnTo>
                  <a:pt x="2972150" y="0"/>
                </a:lnTo>
                <a:lnTo>
                  <a:pt x="2492426" y="1865746"/>
                </a:lnTo>
                <a:lnTo>
                  <a:pt x="2210236" y="1865746"/>
                </a:lnTo>
                <a:close/>
                <a:moveTo>
                  <a:pt x="2137401" y="0"/>
                </a:moveTo>
                <a:lnTo>
                  <a:pt x="2419591" y="0"/>
                </a:lnTo>
                <a:lnTo>
                  <a:pt x="1939867" y="1865746"/>
                </a:lnTo>
                <a:lnTo>
                  <a:pt x="1657677" y="1865746"/>
                </a:lnTo>
                <a:close/>
                <a:moveTo>
                  <a:pt x="1584842" y="0"/>
                </a:moveTo>
                <a:lnTo>
                  <a:pt x="1867032" y="0"/>
                </a:lnTo>
                <a:lnTo>
                  <a:pt x="1387308" y="1865746"/>
                </a:lnTo>
                <a:lnTo>
                  <a:pt x="1105118" y="1865746"/>
                </a:lnTo>
                <a:close/>
                <a:moveTo>
                  <a:pt x="1032283" y="0"/>
                </a:moveTo>
                <a:lnTo>
                  <a:pt x="1314473" y="0"/>
                </a:lnTo>
                <a:lnTo>
                  <a:pt x="834749" y="1865746"/>
                </a:lnTo>
                <a:lnTo>
                  <a:pt x="552559" y="1865746"/>
                </a:lnTo>
                <a:close/>
                <a:moveTo>
                  <a:pt x="479724" y="0"/>
                </a:moveTo>
                <a:lnTo>
                  <a:pt x="761914" y="0"/>
                </a:lnTo>
                <a:lnTo>
                  <a:pt x="282190" y="1865746"/>
                </a:lnTo>
                <a:lnTo>
                  <a:pt x="0" y="1865746"/>
                </a:lnTo>
                <a:close/>
              </a:path>
            </a:pathLst>
          </a:custGeom>
          <a:solidFill>
            <a:schemeClr val="bg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6130269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08309546"/>
      </p:ext>
    </p:extLst>
  </p:cSld>
  <p:clrMapOvr>
    <a:masterClrMapping/>
  </p:clrMapOvr>
</p:sldLayout>
</file>

<file path=ppt/slideLayouts/slideLayout2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lide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072DD46-3F51-A748-8F94-B6F9001382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878904" y="-362"/>
            <a:ext cx="7974904" cy="6497638"/>
          </a:xfr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50000" b="1" spc="-30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E8F8-3509-FA4A-84BE-D7B63C4C4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6257" y="609600"/>
            <a:ext cx="6762967" cy="5635625"/>
          </a:xfrm>
        </p:spPr>
        <p:txBody>
          <a:bodyPr anchor="ctr"/>
          <a:lstStyle>
            <a:lvl1pPr>
              <a:lnSpc>
                <a:spcPts val="6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3519952474"/>
      </p:ext>
    </p:extLst>
  </p:cSld>
  <p:clrMapOvr>
    <a:masterClrMapping/>
  </p:clrMapOvr>
</p:sldLayout>
</file>

<file path=ppt/slideLayouts/slideLayout2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>
            <a:extLst>
              <a:ext uri="{FF2B5EF4-FFF2-40B4-BE49-F238E27FC236}">
                <a16:creationId xmlns:a16="http://schemas.microsoft.com/office/drawing/2014/main" id="{7B3EDD58-5FA3-6140-B17B-40F7C1CD1135}"/>
              </a:ext>
            </a:extLst>
          </p:cNvPr>
          <p:cNvSpPr/>
          <p:nvPr/>
        </p:nvSpPr>
        <p:spPr>
          <a:xfrm>
            <a:off x="609600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8235081"/>
      </p:ext>
    </p:extLst>
  </p:cSld>
  <p:clrMapOvr>
    <a:masterClrMapping/>
  </p:clrMapOvr>
</p:sldLayout>
</file>

<file path=ppt/slideLayouts/slideLayout2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seño personalizad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4AF442D-09D5-E949-9926-48F727EB856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GB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51C0B5-0FE4-AA45-86C1-CD72BD879139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5" name="Picture Placeholder 12">
            <a:extLst>
              <a:ext uri="{FF2B5EF4-FFF2-40B4-BE49-F238E27FC236}">
                <a16:creationId xmlns:a16="http://schemas.microsoft.com/office/drawing/2014/main" id="{EDC06073-822D-C148-9EA1-733BA6032B1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itle 3">
            <a:extLst>
              <a:ext uri="{FF2B5EF4-FFF2-40B4-BE49-F238E27FC236}">
                <a16:creationId xmlns:a16="http://schemas.microsoft.com/office/drawing/2014/main" id="{32CC8F85-F28A-DB4E-8753-4470623EA5E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Picture Placeholder 10">
            <a:extLst>
              <a:ext uri="{FF2B5EF4-FFF2-40B4-BE49-F238E27FC236}">
                <a16:creationId xmlns:a16="http://schemas.microsoft.com/office/drawing/2014/main" id="{62716F3C-0A12-0A43-AAAF-C19A6B6DA59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22306210"/>
      </p:ext>
    </p:extLst>
  </p:cSld>
  <p:clrMapOvr>
    <a:masterClrMapping/>
  </p:clrMapOvr>
</p:sldLayout>
</file>

<file path=ppt/slideLayouts/slideLayout2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43138474"/>
      </p:ext>
    </p:extLst>
  </p:cSld>
  <p:clrMapOvr>
    <a:masterClrMapping/>
  </p:clrMapOvr>
</p:sldLayout>
</file>

<file path=ppt/slideLayouts/slideLayout2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74D4A870-F17A-F442-8E79-D6593E5CEED2}"/>
              </a:ext>
            </a:extLst>
          </p:cNvPr>
          <p:cNvSpPr/>
          <p:nvPr/>
        </p:nvSpPr>
        <p:spPr>
          <a:xfrm flipH="1">
            <a:off x="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29480605"/>
      </p:ext>
    </p:extLst>
  </p:cSld>
  <p:clrMapOvr>
    <a:masterClrMapping/>
  </p:clrMapOvr>
</p:sldLayout>
</file>

<file path=ppt/slideLayouts/slideLayout2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0318214"/>
      </p:ext>
    </p:extLst>
  </p:cSld>
  <p:clrMapOvr>
    <a:masterClrMapping/>
  </p:clrMapOvr>
</p:sldLayout>
</file>

<file path=ppt/slideLayouts/slideLayout2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righ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57532" y="0"/>
            <a:ext cx="4834469" cy="64980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66451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98071852"/>
      </p:ext>
    </p:extLst>
  </p:cSld>
  <p:clrMapOvr>
    <a:masterClrMapping/>
  </p:clrMapOvr>
</p:sldLayout>
</file>

<file path=ppt/slideLayouts/slideLayout2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D3E5BD-E875-EE4C-9CB4-36F3C3D3E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46335" cy="97498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5ABFEEB8-51F9-0142-A050-4625F63255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98470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E2A247-90BA-314A-BDCD-0A4AECB670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2325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3DB6A0-2E22-9F4E-8C30-ECA98F4FDBD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98470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C9E62EE-D701-B347-BBEF-F2599FBBA8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22325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945DC05E-C003-B74C-9DD3-11B31C7A2E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35679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15B1402-52BD-4944-86EC-993B6CCD1D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09233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38615044-966E-9341-99DF-7BCA47F3C0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35679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E7B9924-E501-1945-9875-2CFFD00358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09233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044840397"/>
      </p:ext>
    </p:extLst>
  </p:cSld>
  <p:clrMapOvr>
    <a:masterClrMapping/>
  </p:clrMapOvr>
</p:sldLayout>
</file>

<file path=ppt/slideLayouts/slideLayout2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A9069D4-BBD5-6840-9646-5955E2C1E9C0}"/>
              </a:ext>
            </a:extLst>
          </p:cNvPr>
          <p:cNvSpPr/>
          <p:nvPr/>
        </p:nvSpPr>
        <p:spPr>
          <a:xfrm>
            <a:off x="0" y="3429000"/>
            <a:ext cx="12192000" cy="3069000"/>
          </a:xfrm>
          <a:custGeom>
            <a:avLst/>
            <a:gdLst>
              <a:gd name="connsiteX0" fmla="*/ 0 w 12192000"/>
              <a:gd name="connsiteY0" fmla="*/ 0 h 3069000"/>
              <a:gd name="connsiteX1" fmla="*/ 12192000 w 12192000"/>
              <a:gd name="connsiteY1" fmla="*/ 0 h 3069000"/>
              <a:gd name="connsiteX2" fmla="*/ 12192000 w 12192000"/>
              <a:gd name="connsiteY2" fmla="*/ 3069000 h 3069000"/>
              <a:gd name="connsiteX3" fmla="*/ 6347607 w 12192000"/>
              <a:gd name="connsiteY3" fmla="*/ 3069000 h 3069000"/>
              <a:gd name="connsiteX4" fmla="*/ 6348000 w 12192000"/>
              <a:gd name="connsiteY4" fmla="*/ 3067050 h 3069000"/>
              <a:gd name="connsiteX5" fmla="*/ 6096000 w 12192000"/>
              <a:gd name="connsiteY5" fmla="*/ 2815050 h 3069000"/>
              <a:gd name="connsiteX6" fmla="*/ 5844000 w 12192000"/>
              <a:gd name="connsiteY6" fmla="*/ 3067050 h 3069000"/>
              <a:gd name="connsiteX7" fmla="*/ 5844394 w 12192000"/>
              <a:gd name="connsiteY7" fmla="*/ 3069000 h 3069000"/>
              <a:gd name="connsiteX8" fmla="*/ 0 w 12192000"/>
              <a:gd name="connsiteY8" fmla="*/ 3069000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3069000">
                <a:moveTo>
                  <a:pt x="0" y="0"/>
                </a:moveTo>
                <a:lnTo>
                  <a:pt x="12192000" y="0"/>
                </a:lnTo>
                <a:lnTo>
                  <a:pt x="12192000" y="3069000"/>
                </a:lnTo>
                <a:lnTo>
                  <a:pt x="6347607" y="306900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5844394" y="3069000"/>
                </a:lnTo>
                <a:lnTo>
                  <a:pt x="0" y="3069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88810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88810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04652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04652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20494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0494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36335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36335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92387795"/>
      </p:ext>
    </p:extLst>
  </p:cSld>
  <p:clrMapOvr>
    <a:masterClrMapping/>
  </p:clrMapOvr>
</p:sldLayout>
</file>

<file path=ppt/slideLayouts/slideLayout2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>
            <a:extLst>
              <a:ext uri="{FF2B5EF4-FFF2-40B4-BE49-F238E27FC236}">
                <a16:creationId xmlns:a16="http://schemas.microsoft.com/office/drawing/2014/main" id="{B4DB38A8-ED85-1347-B790-9A2BE1DBEF4C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1538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1784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8738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762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3222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3468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906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7930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71538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31784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8738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762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603222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63468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1906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7930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42797497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150691392"/>
      </p:ext>
    </p:extLst>
  </p:cSld>
  <p:clrMapOvr>
    <a:masterClrMapping/>
  </p:clrMapOvr>
</p:sldLayout>
</file>

<file path=ppt/slideLayouts/slideLayout2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layout x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33">
            <a:extLst>
              <a:ext uri="{FF2B5EF4-FFF2-40B4-BE49-F238E27FC236}">
                <a16:creationId xmlns:a16="http://schemas.microsoft.com/office/drawing/2014/main" id="{197B69D6-70A7-CE4F-9A01-697D3720C72F}"/>
              </a:ext>
            </a:extLst>
          </p:cNvPr>
          <p:cNvSpPr/>
          <p:nvPr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806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052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5155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179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4530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554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9047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9293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7806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052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5155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179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34530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0554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39047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9293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133D25D3-41F4-CF45-B3FB-081FF3E957B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32794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02652BE-BCA5-5E41-A735-774F4FD022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93040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Picture Placeholder 16">
            <a:extLst>
              <a:ext uri="{FF2B5EF4-FFF2-40B4-BE49-F238E27FC236}">
                <a16:creationId xmlns:a16="http://schemas.microsoft.com/office/drawing/2014/main" id="{3A70D29D-1742-1E42-A75A-59E3F307005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32794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120ECA6-14E8-FE4E-BFAC-0B4E36A588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3040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accent4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3825058871"/>
      </p:ext>
    </p:extLst>
  </p:cSld>
  <p:clrMapOvr>
    <a:masterClrMapping/>
  </p:clrMapOvr>
</p:sldLayout>
</file>

<file path=ppt/slideLayouts/slideLayout2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- lef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E02DB30E-67C0-3445-AA5E-A5CC215D9884}"/>
              </a:ext>
            </a:extLst>
          </p:cNvPr>
          <p:cNvSpPr/>
          <p:nvPr/>
        </p:nvSpPr>
        <p:spPr>
          <a:xfrm>
            <a:off x="0" y="0"/>
            <a:ext cx="6096000" cy="649605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244050 h 6496050"/>
              <a:gd name="connsiteX3" fmla="*/ 5844000 w 6096000"/>
              <a:gd name="connsiteY3" fmla="*/ 6496050 h 6496050"/>
              <a:gd name="connsiteX4" fmla="*/ 0 w 6096000"/>
              <a:gd name="connsiteY4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6D988FC3-040D-EF47-819D-2C866022ED0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55600"/>
            <a:ext cx="3026526" cy="6140450"/>
          </a:xfrm>
          <a:custGeom>
            <a:avLst/>
            <a:gdLst>
              <a:gd name="connsiteX0" fmla="*/ 0 w 3026526"/>
              <a:gd name="connsiteY0" fmla="*/ 0 h 6140450"/>
              <a:gd name="connsiteX1" fmla="*/ 3026526 w 3026526"/>
              <a:gd name="connsiteY1" fmla="*/ 0 h 6140450"/>
              <a:gd name="connsiteX2" fmla="*/ 1491414 w 3026526"/>
              <a:gd name="connsiteY2" fmla="*/ 6140450 h 6140450"/>
              <a:gd name="connsiteX3" fmla="*/ 0 w 3026526"/>
              <a:gd name="connsiteY3" fmla="*/ 6140450 h 61404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026526" h="6140450">
                <a:moveTo>
                  <a:pt x="0" y="0"/>
                </a:moveTo>
                <a:lnTo>
                  <a:pt x="3026526" y="0"/>
                </a:lnTo>
                <a:lnTo>
                  <a:pt x="1491414" y="6140450"/>
                </a:lnTo>
                <a:lnTo>
                  <a:pt x="0" y="6140450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039149" y="609600"/>
            <a:ext cx="8540076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039150" y="2436812"/>
            <a:ext cx="2963332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56726608"/>
      </p:ext>
    </p:extLst>
  </p:cSld>
  <p:clrMapOvr>
    <a:masterClrMapping/>
  </p:clrMapOvr>
</p:sldLayout>
</file>

<file path=ppt/slideLayouts/slideLayout2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all ou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83C2CFA2-B26F-9B4B-99FF-BACD59C72A9A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1084580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9221390 w 12192000"/>
              <a:gd name="connsiteY3" fmla="*/ 6497638 h 6497638"/>
              <a:gd name="connsiteX4" fmla="*/ 0 w 12192000"/>
              <a:gd name="connsiteY4" fmla="*/ 0 h 6497638"/>
              <a:gd name="connsiteX5" fmla="*/ 4267200 w 12192000"/>
              <a:gd name="connsiteY5" fmla="*/ 0 h 6497638"/>
              <a:gd name="connsiteX6" fmla="*/ 4267200 w 12192000"/>
              <a:gd name="connsiteY6" fmla="*/ 6497638 h 6497638"/>
              <a:gd name="connsiteX7" fmla="*/ 0 w 12192000"/>
              <a:gd name="connsiteY7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497638">
                <a:moveTo>
                  <a:pt x="1084580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9221390" y="6497638"/>
                </a:lnTo>
                <a:close/>
                <a:moveTo>
                  <a:pt x="0" y="0"/>
                </a:moveTo>
                <a:lnTo>
                  <a:pt x="4267200" y="0"/>
                </a:lnTo>
                <a:lnTo>
                  <a:pt x="4267200" y="6497638"/>
                </a:lnTo>
                <a:lnTo>
                  <a:pt x="0" y="6497638"/>
                </a:lnTo>
                <a:close/>
              </a:path>
            </a:pathLst>
          </a:custGeom>
          <a:solidFill>
            <a:schemeClr val="accent5"/>
          </a:solidFill>
        </p:spPr>
        <p:txBody>
          <a:bodyPr wrap="square">
            <a:noAutofit/>
          </a:bodyPr>
          <a:lstStyle/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34105" cy="2819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704764-5568-8B41-B513-A6931F8926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239" y="1056612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EAE2D71-1538-5D46-A3E8-201696276C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9937" y="1056612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C59DB6-68B7-5C4A-8106-D74E5DF19A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40239" y="2710048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D36210B-701B-D042-B701-14479EBE2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9937" y="2710048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C3F4854-7AB9-D14B-9695-E24C3E2F0F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40239" y="4363484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 i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B0BC641-2F1D-BB47-ABAC-E5C26E2A8A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9937" y="4363484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571834635"/>
      </p:ext>
    </p:extLst>
  </p:cSld>
  <p:clrMapOvr>
    <a:masterClrMapping/>
  </p:clrMapOvr>
</p:sldLayout>
</file>

<file path=ppt/slideLayouts/slideLayout2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lt layout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5063118" cy="1846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609600"/>
            <a:ext cx="5487666" cy="563874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7704238"/>
      </p:ext>
    </p:extLst>
  </p:cSld>
  <p:clrMapOvr>
    <a:masterClrMapping/>
  </p:clrMapOvr>
</p:sldLayout>
</file>

<file path=ppt/slideLayouts/slideLayout2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 i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07449044"/>
      </p:ext>
    </p:extLst>
  </p:cSld>
  <p:clrMapOvr>
    <a:masterClrMapping/>
  </p:clrMapOvr>
</p:sldLayout>
</file>

<file path=ppt/slideLayouts/slideLayout2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979" y="3070253"/>
            <a:ext cx="2973600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4341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ECB1B2-4B29-F74A-823F-6BCFA66286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7979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9023512-711F-0C4F-A156-FD720C66A3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9200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BA21B11-DA81-F149-A2C0-25651AB36E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64057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432162853"/>
      </p:ext>
    </p:extLst>
  </p:cSld>
  <p:clrMapOvr>
    <a:masterClrMapping/>
  </p:clrMapOvr>
</p:sldLayout>
</file>

<file path=ppt/slideLayouts/slideLayout2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244910"/>
      </p:ext>
    </p:extLst>
  </p:cSld>
  <p:clrMapOvr>
    <a:masterClrMapping/>
  </p:clrMapOvr>
</p:sldLayout>
</file>

<file path=ppt/slideLayouts/slideLayout2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-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8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FA9E08D-EBBC-D74C-8F0C-DD8EE542819B}"/>
              </a:ext>
            </a:extLst>
          </p:cNvPr>
          <p:cNvSpPr/>
          <p:nvPr/>
        </p:nvSpPr>
        <p:spPr>
          <a:xfrm>
            <a:off x="4062000" y="3429000"/>
            <a:ext cx="4069800" cy="3069000"/>
          </a:xfrm>
          <a:custGeom>
            <a:avLst/>
            <a:gdLst>
              <a:gd name="connsiteX0" fmla="*/ 0 w 4069800"/>
              <a:gd name="connsiteY0" fmla="*/ 0 h 3069000"/>
              <a:gd name="connsiteX1" fmla="*/ 4068000 w 4069800"/>
              <a:gd name="connsiteY1" fmla="*/ 0 h 3069000"/>
              <a:gd name="connsiteX2" fmla="*/ 4069800 w 4069800"/>
              <a:gd name="connsiteY2" fmla="*/ 0 h 3069000"/>
              <a:gd name="connsiteX3" fmla="*/ 4069800 w 4069800"/>
              <a:gd name="connsiteY3" fmla="*/ 3069000 h 3069000"/>
              <a:gd name="connsiteX4" fmla="*/ 2287827 w 4069800"/>
              <a:gd name="connsiteY4" fmla="*/ 3069000 h 3069000"/>
              <a:gd name="connsiteX5" fmla="*/ 2288023 w 4069800"/>
              <a:gd name="connsiteY5" fmla="*/ 3067050 h 3069000"/>
              <a:gd name="connsiteX6" fmla="*/ 2035800 w 4069800"/>
              <a:gd name="connsiteY6" fmla="*/ 2815050 h 3069000"/>
              <a:gd name="connsiteX7" fmla="*/ 1783577 w 4069800"/>
              <a:gd name="connsiteY7" fmla="*/ 3067050 h 3069000"/>
              <a:gd name="connsiteX8" fmla="*/ 1783774 w 4069800"/>
              <a:gd name="connsiteY8" fmla="*/ 3069000 h 3069000"/>
              <a:gd name="connsiteX9" fmla="*/ 1800 w 4069800"/>
              <a:gd name="connsiteY9" fmla="*/ 3069000 h 3069000"/>
              <a:gd name="connsiteX10" fmla="*/ 1800 w 4069800"/>
              <a:gd name="connsiteY10" fmla="*/ 235974 h 3069000"/>
              <a:gd name="connsiteX11" fmla="*/ 0 w 4069800"/>
              <a:gd name="connsiteY11" fmla="*/ 235974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69800" h="3069000">
                <a:moveTo>
                  <a:pt x="0" y="0"/>
                </a:moveTo>
                <a:lnTo>
                  <a:pt x="4068000" y="0"/>
                </a:lnTo>
                <a:lnTo>
                  <a:pt x="4069800" y="0"/>
                </a:lnTo>
                <a:lnTo>
                  <a:pt x="4069800" y="3069000"/>
                </a:lnTo>
                <a:lnTo>
                  <a:pt x="2287827" y="3069000"/>
                </a:lnTo>
                <a:lnTo>
                  <a:pt x="2288023" y="3067050"/>
                </a:lnTo>
                <a:cubicBezTo>
                  <a:pt x="2288023" y="2927874"/>
                  <a:pt x="2175099" y="2815050"/>
                  <a:pt x="2035800" y="2815050"/>
                </a:cubicBezTo>
                <a:cubicBezTo>
                  <a:pt x="1896501" y="2815050"/>
                  <a:pt x="1783577" y="2927874"/>
                  <a:pt x="1783577" y="3067050"/>
                </a:cubicBezTo>
                <a:lnTo>
                  <a:pt x="1783774" y="3069000"/>
                </a:lnTo>
                <a:lnTo>
                  <a:pt x="1800" y="3069000"/>
                </a:lnTo>
                <a:lnTo>
                  <a:pt x="1800" y="235974"/>
                </a:lnTo>
                <a:lnTo>
                  <a:pt x="0" y="235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31013-65DA-1041-8C57-167C9C53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0E0DA3E-4AF8-B845-A89E-05FD19C066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B26C98B-BE8E-EA41-A524-6B126A418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025497E-6F36-0141-BDA5-C0C567EDA4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FE8E897-71C0-C94C-839C-F99C35B92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4BA5F78-CC72-F644-9807-405760E5415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27550E-A2A3-D34D-A752-8FBB32D00B2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accent6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76196512"/>
      </p:ext>
    </p:extLst>
  </p:cSld>
  <p:clrMapOvr>
    <a:masterClrMapping/>
  </p:clrMapOvr>
</p:sldLayout>
</file>

<file path=ppt/slideLayouts/slideLayout2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13BF868-2674-8347-88DF-930682D741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64000" y="0"/>
            <a:ext cx="8128000" cy="6496050"/>
          </a:xfrm>
          <a:custGeom>
            <a:avLst/>
            <a:gdLst>
              <a:gd name="connsiteX0" fmla="*/ 0 w 8128000"/>
              <a:gd name="connsiteY0" fmla="*/ 0 h 6496050"/>
              <a:gd name="connsiteX1" fmla="*/ 8128000 w 8128000"/>
              <a:gd name="connsiteY1" fmla="*/ 0 h 6496050"/>
              <a:gd name="connsiteX2" fmla="*/ 8128000 w 8128000"/>
              <a:gd name="connsiteY2" fmla="*/ 6496050 h 6496050"/>
              <a:gd name="connsiteX3" fmla="*/ 2284000 w 8128000"/>
              <a:gd name="connsiteY3" fmla="*/ 6496050 h 6496050"/>
              <a:gd name="connsiteX4" fmla="*/ 2032000 w 8128000"/>
              <a:gd name="connsiteY4" fmla="*/ 6244050 h 6496050"/>
              <a:gd name="connsiteX5" fmla="*/ 1780000 w 8128000"/>
              <a:gd name="connsiteY5" fmla="*/ 6496050 h 6496050"/>
              <a:gd name="connsiteX6" fmla="*/ 0 w 8128000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28000" h="6496050">
                <a:moveTo>
                  <a:pt x="0" y="0"/>
                </a:moveTo>
                <a:lnTo>
                  <a:pt x="8128000" y="0"/>
                </a:lnTo>
                <a:lnTo>
                  <a:pt x="8128000" y="6496050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0" y="649605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/>
              <a:t>Click to add chart or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229316" cy="1827213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3229316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946111126"/>
      </p:ext>
    </p:extLst>
  </p:cSld>
  <p:clrMapOvr>
    <a:masterClrMapping/>
  </p:clrMapOvr>
</p:sldLayout>
</file>

<file path=ppt/slideLayouts/slideLayout2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F44BA-467F-BE4D-A5C2-016062F34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1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62AB0BE-6BC7-8849-AB16-35B14C0D9D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6257F5-DB36-8642-9B67-DCE0EA0BB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04959" y="1960070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18DF41C-28AB-DF43-913D-52E963D595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4959" y="429097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4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2D083FB-B098-954D-9DC4-850B3E0013D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7011782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9880570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78722199"/>
      </p:ext>
    </p:extLst>
  </p:cSld>
  <p:clrMapOvr>
    <a:masterClrMapping/>
  </p:clrMapOvr>
</p:sldLayout>
</file>

<file path=ppt/slideLayouts/slideLayout2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/ conten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39">
            <a:extLst>
              <a:ext uri="{FF2B5EF4-FFF2-40B4-BE49-F238E27FC236}">
                <a16:creationId xmlns:a16="http://schemas.microsoft.com/office/drawing/2014/main" id="{D76F5CAF-A32B-7A49-875F-78FB038A9479}"/>
              </a:ext>
            </a:extLst>
          </p:cNvPr>
          <p:cNvSpPr/>
          <p:nvPr/>
        </p:nvSpPr>
        <p:spPr>
          <a:xfrm>
            <a:off x="4062000" y="0"/>
            <a:ext cx="4069800" cy="6498000"/>
          </a:xfrm>
          <a:custGeom>
            <a:avLst/>
            <a:gdLst>
              <a:gd name="connsiteX0" fmla="*/ 0 w 4069800"/>
              <a:gd name="connsiteY0" fmla="*/ 0 h 6498000"/>
              <a:gd name="connsiteX1" fmla="*/ 4068000 w 4069800"/>
              <a:gd name="connsiteY1" fmla="*/ 0 h 6498000"/>
              <a:gd name="connsiteX2" fmla="*/ 4068000 w 4069800"/>
              <a:gd name="connsiteY2" fmla="*/ 3429000 h 6498000"/>
              <a:gd name="connsiteX3" fmla="*/ 4069800 w 4069800"/>
              <a:gd name="connsiteY3" fmla="*/ 3429000 h 6498000"/>
              <a:gd name="connsiteX4" fmla="*/ 4069800 w 4069800"/>
              <a:gd name="connsiteY4" fmla="*/ 6498000 h 6498000"/>
              <a:gd name="connsiteX5" fmla="*/ 2287827 w 4069800"/>
              <a:gd name="connsiteY5" fmla="*/ 6498000 h 6498000"/>
              <a:gd name="connsiteX6" fmla="*/ 2288023 w 4069800"/>
              <a:gd name="connsiteY6" fmla="*/ 6496050 h 6498000"/>
              <a:gd name="connsiteX7" fmla="*/ 2035800 w 4069800"/>
              <a:gd name="connsiteY7" fmla="*/ 6244050 h 6498000"/>
              <a:gd name="connsiteX8" fmla="*/ 1783577 w 4069800"/>
              <a:gd name="connsiteY8" fmla="*/ 6496050 h 6498000"/>
              <a:gd name="connsiteX9" fmla="*/ 1783774 w 4069800"/>
              <a:gd name="connsiteY9" fmla="*/ 6498000 h 6498000"/>
              <a:gd name="connsiteX10" fmla="*/ 1800 w 4069800"/>
              <a:gd name="connsiteY10" fmla="*/ 6498000 h 6498000"/>
              <a:gd name="connsiteX11" fmla="*/ 1800 w 4069800"/>
              <a:gd name="connsiteY11" fmla="*/ 3664974 h 6498000"/>
              <a:gd name="connsiteX12" fmla="*/ 0 w 4069800"/>
              <a:gd name="connsiteY12" fmla="*/ 366497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69800" h="6498000">
                <a:moveTo>
                  <a:pt x="0" y="0"/>
                </a:moveTo>
                <a:lnTo>
                  <a:pt x="4068000" y="0"/>
                </a:lnTo>
                <a:lnTo>
                  <a:pt x="4068000" y="3429000"/>
                </a:lnTo>
                <a:lnTo>
                  <a:pt x="4069800" y="3429000"/>
                </a:lnTo>
                <a:lnTo>
                  <a:pt x="4069800" y="6498000"/>
                </a:lnTo>
                <a:lnTo>
                  <a:pt x="2287827" y="6498000"/>
                </a:lnTo>
                <a:lnTo>
                  <a:pt x="2288023" y="6496050"/>
                </a:lnTo>
                <a:cubicBezTo>
                  <a:pt x="2288023" y="6356874"/>
                  <a:pt x="2175099" y="6244050"/>
                  <a:pt x="2035800" y="6244050"/>
                </a:cubicBezTo>
                <a:cubicBezTo>
                  <a:pt x="1896501" y="6244050"/>
                  <a:pt x="1783577" y="6356874"/>
                  <a:pt x="1783577" y="6496050"/>
                </a:cubicBezTo>
                <a:lnTo>
                  <a:pt x="1783774" y="6498000"/>
                </a:lnTo>
                <a:lnTo>
                  <a:pt x="1800" y="6498000"/>
                </a:lnTo>
                <a:lnTo>
                  <a:pt x="1800" y="3664974"/>
                </a:lnTo>
                <a:lnTo>
                  <a:pt x="0" y="3664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4063800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2928" y="609599"/>
            <a:ext cx="3531201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F666979-0ECE-B949-BA37-13C1BF6241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2928" y="2436814"/>
            <a:ext cx="3531201" cy="3811528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90802668"/>
      </p:ext>
    </p:extLst>
  </p:cSld>
  <p:clrMapOvr>
    <a:masterClrMapping/>
  </p:clrMapOvr>
</p:sldLayout>
</file>

<file path=ppt/slideLayouts/slideLayout2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vic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2"/>
            <a:ext cx="296258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6A902-93DF-154B-893D-0DF72E2759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2050" y="1422000"/>
            <a:ext cx="6768000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B4AE55-198A-9245-9842-304475D184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62294" y="1712514"/>
            <a:ext cx="6767512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95FFF9-8E14-6A49-9689-F0419B544A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62050" y="5400000"/>
            <a:ext cx="6768000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C4594DC-56B1-CF41-9D14-1F429D8D88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28050" y="1541493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B8FE8A3-A2FB-2B45-BB88-4AB826079E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2200" y="2150333"/>
            <a:ext cx="1962204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9F22E1CA-D39E-CF4F-8BC3-E45962EB36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62444" y="2440847"/>
            <a:ext cx="1962063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515B4EF-4C39-FA47-B386-295D0DE154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62200" y="6128333"/>
            <a:ext cx="1962204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428CB56-8DB8-424F-B8A1-7AD238B12D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07103" y="2271316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CF6EC-E44D-3B4E-832E-79B18420F6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899178" y="2271316"/>
            <a:ext cx="182876" cy="36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25798678"/>
      </p:ext>
    </p:extLst>
  </p:cSld>
  <p:clrMapOvr>
    <a:masterClrMapping/>
  </p:clrMapOvr>
</p:sldLayout>
</file>

<file path=ppt/slideLayouts/slideLayout2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920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FB7A9AC-BCBE-074D-9620-C5FAB2B9DA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7109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CE8E07-4968-2149-AED9-530684741F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1501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286626149"/>
      </p:ext>
    </p:extLst>
  </p:cSld>
  <p:clrMapOvr>
    <a:masterClrMapping/>
  </p:clrMapOvr>
</p:sldLayout>
</file>

<file path=ppt/slideLayouts/slideLayout2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points with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B46106E-6485-954E-BED7-0B3CFBD38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59DACD9E-3955-7B45-96B2-7D8BE4726A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750970C-3138-B24B-B5BE-424C94FFCB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947B9FEA-9C3C-8144-BBAC-02AAECE365E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3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905D865-DB29-824B-83F4-98D1B8D13D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685FA2-5439-8249-9C6F-580A601085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F45E1A5-F9AA-8E45-87DA-48733FB4402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7138177"/>
      </p:ext>
    </p:extLst>
  </p:cSld>
  <p:clrMapOvr>
    <a:masterClrMapping/>
  </p:clrMapOvr>
</p:sldLayout>
</file>

<file path=ppt/slideLayouts/slideLayout2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2 callouts with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305D707-B941-E742-B3A1-EC33D25DD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1958CA4-4DE3-104F-87CF-B9883AE1372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F8530DE-535A-084C-8B5E-A85ECC159C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64000" y="0"/>
            <a:ext cx="8128000" cy="6497638"/>
          </a:xfrm>
          <a:custGeom>
            <a:avLst/>
            <a:gdLst>
              <a:gd name="connsiteX0" fmla="*/ 0 w 8128000"/>
              <a:gd name="connsiteY0" fmla="*/ 0 h 6497638"/>
              <a:gd name="connsiteX1" fmla="*/ 8128000 w 8128000"/>
              <a:gd name="connsiteY1" fmla="*/ 0 h 6497638"/>
              <a:gd name="connsiteX2" fmla="*/ 8128000 w 8128000"/>
              <a:gd name="connsiteY2" fmla="*/ 6497638 h 6497638"/>
              <a:gd name="connsiteX3" fmla="*/ 2283680 w 8128000"/>
              <a:gd name="connsiteY3" fmla="*/ 6497638 h 6497638"/>
              <a:gd name="connsiteX4" fmla="*/ 2284000 w 8128000"/>
              <a:gd name="connsiteY4" fmla="*/ 6496050 h 6497638"/>
              <a:gd name="connsiteX5" fmla="*/ 2032000 w 8128000"/>
              <a:gd name="connsiteY5" fmla="*/ 6244050 h 6497638"/>
              <a:gd name="connsiteX6" fmla="*/ 1780000 w 8128000"/>
              <a:gd name="connsiteY6" fmla="*/ 6496050 h 6497638"/>
              <a:gd name="connsiteX7" fmla="*/ 1780321 w 8128000"/>
              <a:gd name="connsiteY7" fmla="*/ 6497638 h 6497638"/>
              <a:gd name="connsiteX8" fmla="*/ 0 w 8128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28000" h="6497638">
                <a:moveTo>
                  <a:pt x="0" y="0"/>
                </a:moveTo>
                <a:lnTo>
                  <a:pt x="8128000" y="0"/>
                </a:lnTo>
                <a:lnTo>
                  <a:pt x="8128000" y="6497638"/>
                </a:lnTo>
                <a:lnTo>
                  <a:pt x="2283680" y="6497638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1780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3023302" cy="3498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B439116-0AC7-6E49-9EE3-FFE1BD1C3F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A3AD4B1-EF8E-F84F-8EB4-0633A7A509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36588301"/>
      </p:ext>
    </p:extLst>
  </p:cSld>
  <p:clrMapOvr>
    <a:masterClrMapping/>
  </p:clrMapOvr>
</p:sldLayout>
</file>

<file path=ppt/slideLayouts/slideLayout2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611550055"/>
      </p:ext>
    </p:extLst>
  </p:cSld>
  <p:clrMapOvr>
    <a:masterClrMapping/>
  </p:clrMapOvr>
</p:sldLayout>
</file>

<file path=ppt/slideLayouts/slideLayout2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>
                <a:solidFill>
                  <a:srgbClr val="404E5C"/>
                </a:solidFill>
              </a:rPr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>
                <a:solidFill>
                  <a:srgbClr val="FFFFFF"/>
                </a:solidFill>
              </a:endParaRPr>
            </a:p>
          </p:txBody>
        </p:sp>
      </p:grpSp>
      <p:sp>
        <p:nvSpPr>
          <p:cNvPr id="15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 txBox="1">
            <a:spLocks/>
          </p:cNvSpPr>
          <p:nvPr/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r" defTabSz="914400" rtl="0" eaLnBrk="1" latinLnBrk="0" hangingPunct="1">
              <a:defRPr sz="8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AB1D7550-0EB0-3A43-B3ED-278106F7B6C0}" type="slidenum">
              <a:rPr lang="en-GB" smtClean="0">
                <a:solidFill>
                  <a:srgbClr val="404E5C"/>
                </a:solidFill>
              </a:rPr>
              <a:pPr/>
              <a:t>‹Nº›</a:t>
            </a:fld>
            <a:endParaRPr lang="en-GB">
              <a:solidFill>
                <a:srgbClr val="404E5C"/>
              </a:solidFill>
            </a:endParaRP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EEA482E0-B01C-F146-BA1B-F2A64B1E0FAD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940093" y="6335850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60398852"/>
      </p:ext>
    </p:extLst>
  </p:cSld>
  <p:clrMapOvr>
    <a:masterClrMapping/>
  </p:clrMapOvr>
</p:sldLayout>
</file>

<file path=ppt/slideLayouts/slideLayout2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17" name="Title 1">
            <a:extLst>
              <a:ext uri="{FF2B5EF4-FFF2-40B4-BE49-F238E27FC236}">
                <a16:creationId xmlns:a16="http://schemas.microsoft.com/office/drawing/2014/main" id="{A9D9B270-FE21-444E-AB80-6A52EC0C508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</p:spTree>
    <p:extLst>
      <p:ext uri="{BB962C8B-B14F-4D97-AF65-F5344CB8AC3E}">
        <p14:creationId xmlns:p14="http://schemas.microsoft.com/office/powerpoint/2010/main" val="506019198"/>
      </p:ext>
    </p:extLst>
  </p:cSld>
  <p:clrMapOvr>
    <a:masterClrMapping/>
  </p:clrMapOvr>
</p:sldLayout>
</file>

<file path=ppt/slideLayouts/slideLayout2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9678254"/>
      </p:ext>
    </p:extLst>
  </p:cSld>
  <p:clrMapOvr>
    <a:masterClrMapping/>
  </p:clrMapOvr>
</p:sldLayout>
</file>

<file path=ppt/slideLayouts/slideLayout2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+ title #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BF43660B-81B2-B143-B11D-85302EECFDBE}"/>
              </a:ext>
            </a:extLst>
          </p:cNvPr>
          <p:cNvSpPr/>
          <p:nvPr/>
        </p:nvSpPr>
        <p:spPr>
          <a:xfrm>
            <a:off x="-1" y="169378"/>
            <a:ext cx="6096001" cy="651399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Picture Placeholder 3">
            <a:extLst>
              <a:ext uri="{FF2B5EF4-FFF2-40B4-BE49-F238E27FC236}">
                <a16:creationId xmlns:a16="http://schemas.microsoft.com/office/drawing/2014/main" id="{E9EEBBFB-5AFB-E546-B708-FD2A696F2A2D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067241" y="346075"/>
            <a:ext cx="5124760" cy="616585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txBody>
          <a:bodyPr lIns="0" tIns="0" rIns="0" bIns="0" anchor="ctr">
            <a:normAutofit/>
          </a:bodyPr>
          <a:lstStyle>
            <a:lvl1pPr marL="0" indent="0" algn="ctr">
              <a:buNone/>
              <a:defRPr sz="1400" b="0">
                <a:solidFill>
                  <a:schemeClr val="accent3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r>
              <a:rPr lang="es-ES"/>
              <a:t>Haga clic en el icono para agregar una imagen</a:t>
            </a:r>
            <a:endParaRPr lang="en-US"/>
          </a:p>
        </p:txBody>
      </p:sp>
      <p:sp>
        <p:nvSpPr>
          <p:cNvPr id="17" name="Text Placeholder 24">
            <a:extLst>
              <a:ext uri="{FF2B5EF4-FFF2-40B4-BE49-F238E27FC236}">
                <a16:creationId xmlns:a16="http://schemas.microsoft.com/office/drawing/2014/main" id="{4BCEEAE9-2632-734D-A333-1202EB0610B7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1" y="346075"/>
            <a:ext cx="7067241" cy="6165850"/>
          </a:xfrm>
          <a:prstGeom prst="rect">
            <a:avLst/>
          </a:prstGeom>
          <a:solidFill>
            <a:schemeClr val="tx1"/>
          </a:solidFill>
        </p:spPr>
        <p:txBody>
          <a:bodyPr/>
          <a:lstStyle>
            <a:lvl1pPr marL="0" indent="0">
              <a:buNone/>
              <a:defRPr sz="200">
                <a:solidFill>
                  <a:schemeClr val="tx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</a:lstStyle>
          <a:p>
            <a:pPr lvl="0"/>
            <a:r>
              <a:rPr lang="en-US"/>
              <a:t>Box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2A09681D-22B5-6548-919F-52B58046082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1473" y="572255"/>
            <a:ext cx="328492" cy="50392"/>
          </a:xfrm>
          <a:prstGeom prst="rect">
            <a:avLst/>
          </a:prstGeom>
          <a:solidFill>
            <a:schemeClr val="bg2"/>
          </a:solidFill>
        </p:spPr>
        <p:txBody>
          <a:bodyPr wrap="none" lIns="0" tIns="0" rIns="0" bIns="0" anchor="ctr"/>
          <a:lstStyle>
            <a:lvl1pPr>
              <a:defRPr lang="en-US" sz="200" smtClean="0">
                <a:solidFill>
                  <a:schemeClr val="bg2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>
              <a:defRPr lang="en-US" sz="800" smtClean="0">
                <a:solidFill>
                  <a:schemeClr val="bg2"/>
                </a:solidFill>
              </a:defRPr>
            </a:lvl2pPr>
            <a:lvl3pPr>
              <a:defRPr lang="en-US" sz="800" smtClean="0">
                <a:solidFill>
                  <a:schemeClr val="bg2"/>
                </a:solidFill>
              </a:defRPr>
            </a:lvl3pPr>
            <a:lvl4pPr>
              <a:defRPr lang="en-US" sz="800" smtClean="0">
                <a:solidFill>
                  <a:schemeClr val="bg2"/>
                </a:solidFill>
              </a:defRPr>
            </a:lvl4pPr>
            <a:lvl5pPr>
              <a:defRPr lang="en-US" sz="800">
                <a:solidFill>
                  <a:schemeClr val="bg2"/>
                </a:solidFill>
              </a:defRPr>
            </a:lvl5pPr>
          </a:lstStyle>
          <a:p>
            <a:pPr marL="0" lvl="0" indent="0" algn="ctr">
              <a:buNone/>
            </a:pPr>
            <a:r>
              <a:rPr lang="en-US"/>
              <a:t>Line</a:t>
            </a:r>
          </a:p>
        </p:txBody>
      </p:sp>
      <p:sp>
        <p:nvSpPr>
          <p:cNvPr id="18" name="Slide Number Placeholder 11">
            <a:extLst>
              <a:ext uri="{FF2B5EF4-FFF2-40B4-BE49-F238E27FC236}">
                <a16:creationId xmlns:a16="http://schemas.microsoft.com/office/drawing/2014/main" id="{BF6D8E5A-A926-EA42-9DD8-56755A428205}"/>
              </a:ext>
            </a:extLst>
          </p:cNvPr>
          <p:cNvSpPr txBox="1">
            <a:spLocks/>
          </p:cNvSpPr>
          <p:nvPr/>
        </p:nvSpPr>
        <p:spPr>
          <a:xfrm>
            <a:off x="337856" y="6515474"/>
            <a:ext cx="612000" cy="172068"/>
          </a:xfrm>
          <a:prstGeom prst="rect">
            <a:avLst/>
          </a:prstGeom>
        </p:spPr>
        <p:txBody>
          <a:bodyPr anchor="ctr"/>
          <a:lstStyle>
            <a:defPPr>
              <a:defRPr lang="en-US"/>
            </a:defPPr>
            <a:lvl1pPr marL="0" algn="ctr" defTabSz="914400" rtl="0" eaLnBrk="1" latinLnBrk="0" hangingPunct="1">
              <a:defRPr sz="1800" kern="1200">
                <a:solidFill>
                  <a:schemeClr val="bg1"/>
                </a:solidFill>
                <a:latin typeface="Century Gothic" charset="0"/>
                <a:ea typeface="Century Gothic" charset="0"/>
                <a:cs typeface="Century Gothic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fld id="{BC3BBC56-5B77-964C-A5B4-F225189E1B1A}" type="slidenum">
              <a:rPr lang="en-US" sz="800" i="0" smtClean="0"/>
              <a:pPr algn="l"/>
              <a:t>‹Nº›</a:t>
            </a:fld>
            <a:endParaRPr lang="en-US" sz="800" i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F70018-73A1-A742-95B2-3D6B76F2D7F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1476" y="728662"/>
            <a:ext cx="6367128" cy="132556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F23E93F2-6A96-924E-ADF9-C3E512F73649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71475" y="2054225"/>
            <a:ext cx="6315075" cy="411797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accent4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A6FF180C-B320-DC49-8D0B-5BC885F62D2C}"/>
              </a:ext>
            </a:extLst>
          </p:cNvPr>
          <p:cNvSpPr>
            <a:spLocks noGrp="1"/>
          </p:cNvSpPr>
          <p:nvPr>
            <p:ph type="ftr" sz="quarter" idx="29"/>
          </p:nvPr>
        </p:nvSpPr>
        <p:spPr/>
        <p:txBody>
          <a:bodyPr/>
          <a:lstStyle/>
          <a:p>
            <a:r>
              <a:rPr lang="en-US"/>
              <a:t>Source: </a:t>
            </a:r>
          </a:p>
        </p:txBody>
      </p:sp>
    </p:spTree>
    <p:extLst>
      <p:ext uri="{BB962C8B-B14F-4D97-AF65-F5344CB8AC3E}">
        <p14:creationId xmlns:p14="http://schemas.microsoft.com/office/powerpoint/2010/main" val="141550334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547053547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036099374"/>
      </p:ext>
    </p:extLst>
  </p:cSld>
  <p:clrMapOvr>
    <a:masterClrMapping/>
  </p:clrMapOvr>
</p:sldLayout>
</file>

<file path=ppt/slideLayouts/slideLayout3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8203486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120372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681003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63591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046179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3620333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302921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AF0E6ED9-CD03-A24A-A1BD-565AA6C21FF6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8985600" y="3826883"/>
            <a:ext cx="2336116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Text Placeholder 7">
            <a:extLst>
              <a:ext uri="{FF2B5EF4-FFF2-40B4-BE49-F238E27FC236}">
                <a16:creationId xmlns:a16="http://schemas.microsoft.com/office/drawing/2014/main" id="{5D686E51-941A-824E-AD7D-9E47C1DA30B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9728767" y="2980823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</p:spTree>
    <p:extLst>
      <p:ext uri="{BB962C8B-B14F-4D97-AF65-F5344CB8AC3E}">
        <p14:creationId xmlns:p14="http://schemas.microsoft.com/office/powerpoint/2010/main" val="422603037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711577969"/>
      </p:ext>
    </p:extLst>
  </p:cSld>
  <p:clrMapOvr>
    <a:masterClrMapping/>
  </p:clrMapOvr>
</p:sldLayout>
</file>

<file path=ppt/slideLayouts/slideLayout3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26308"/>
            <a:ext cx="11392930" cy="569028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2"/>
            <a:ext cx="10928171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32603024"/>
      </p:ext>
    </p:extLst>
  </p:cSld>
  <p:clrMapOvr>
    <a:masterClrMapping/>
  </p:clrMapOvr>
</p:sldLayout>
</file>

<file path=ppt/slideLayouts/slideLayout3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869745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_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15826414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184346240"/>
      </p:ext>
    </p:extLst>
  </p:cSld>
  <p:clrMapOvr>
    <a:masterClrMapping/>
  </p:clrMapOvr>
</p:sldLayout>
</file>

<file path=ppt/slideLayouts/slideLayout3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672338546"/>
      </p:ext>
    </p:extLst>
  </p:cSld>
  <p:clrMapOvr>
    <a:masterClrMapping/>
  </p:clrMapOvr>
</p:sldLayout>
</file>

<file path=ppt/slideLayouts/slideLayout3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23614767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3642744605"/>
      </p:ext>
    </p:extLst>
  </p:cSld>
  <p:clrMapOvr>
    <a:masterClrMapping/>
  </p:clrMapOvr>
</p:sldLayout>
</file>

<file path=ppt/slideLayouts/slideLayout3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67986615"/>
      </p:ext>
    </p:extLst>
  </p:cSld>
  <p:clrMapOvr>
    <a:masterClrMapping/>
  </p:clrMapOvr>
</p:sldLayout>
</file>

<file path=ppt/slideLayouts/slideLayout3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71818468"/>
      </p:ext>
    </p:extLst>
  </p:cSld>
  <p:clrMapOvr>
    <a:masterClrMapping/>
  </p:clrMapOvr>
</p:sldLayout>
</file>

<file path=ppt/slideLayouts/slideLayout3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4020173"/>
      </p:ext>
    </p:extLst>
  </p:cSld>
  <p:clrMapOvr>
    <a:masterClrMapping/>
  </p:clrMapOvr>
</p:sldLayout>
</file>

<file path=ppt/slideLayouts/slideLayout3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8696535"/>
      </p:ext>
    </p:extLst>
  </p:cSld>
  <p:clrMapOvr>
    <a:masterClrMapping/>
  </p:clrMapOvr>
</p:sldLayout>
</file>

<file path=ppt/slideLayouts/slideLayout3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25103391"/>
      </p:ext>
    </p:extLst>
  </p:cSld>
  <p:clrMapOvr>
    <a:masterClrMapping/>
  </p:clrMapOvr>
</p:sldLayout>
</file>

<file path=ppt/slideLayouts/slideLayout3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2102620449"/>
      </p:ext>
    </p:extLst>
  </p:cSld>
  <p:clrMapOvr>
    <a:masterClrMapping/>
  </p:clrMapOvr>
</p:sldLayout>
</file>

<file path=ppt/slideLayouts/slideLayout3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20816815"/>
      </p:ext>
    </p:extLst>
  </p:cSld>
  <p:clrMapOvr>
    <a:masterClrMapping/>
  </p:clrMapOvr>
</p:sldLayout>
</file>

<file path=ppt/slideLayouts/slideLayout3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827455290"/>
      </p:ext>
    </p:extLst>
  </p:cSld>
  <p:clrMapOvr>
    <a:masterClrMapping/>
  </p:clrMapOvr>
</p:sldLayout>
</file>

<file path=ppt/slideLayouts/slideLayout3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69052768"/>
      </p:ext>
    </p:extLst>
  </p:cSld>
  <p:clrMapOvr>
    <a:masterClrMapping/>
  </p:clrMapOvr>
</p:sldLayout>
</file>

<file path=ppt/slideLayouts/slideLayout3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2318075112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206339603"/>
      </p:ext>
    </p:extLst>
  </p:cSld>
  <p:clrMapOvr>
    <a:masterClrMapping/>
  </p:clrMapOvr>
</p:sldLayout>
</file>

<file path=ppt/slideLayouts/slideLayout3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2332138003"/>
      </p:ext>
    </p:extLst>
  </p:cSld>
  <p:clrMapOvr>
    <a:masterClrMapping/>
  </p:clrMapOvr>
</p:sldLayout>
</file>

<file path=ppt/slideLayouts/slideLayout3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31BAC0FB-8425-952C-E9FB-4AAB84D080D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60007816-5D90-B5EF-608E-A575A9A2E2D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4BF7E493-879D-DF38-3015-2B9322FA6DE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730245149"/>
      </p:ext>
    </p:extLst>
  </p:cSld>
  <p:clrMapOvr>
    <a:masterClrMapping/>
  </p:clrMapOvr>
</p:sldLayout>
</file>

<file path=ppt/slideLayouts/slideLayout3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85164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7BB0C135-AA3A-2B51-3D0A-A562675CDF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5039121" cy="1088701"/>
          </a:xfrm>
        </p:spPr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  <p:sp>
        <p:nvSpPr>
          <p:cNvPr id="17" name="Text Placeholder 3">
            <a:extLst>
              <a:ext uri="{FF2B5EF4-FFF2-40B4-BE49-F238E27FC236}">
                <a16:creationId xmlns:a16="http://schemas.microsoft.com/office/drawing/2014/main" id="{E4FAA0A8-6E7A-EA86-CF70-3DDC56A3FCE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5039121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8D52EF92-6D3F-EED1-FB49-C48294396BFC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24791145"/>
      </p:ext>
    </p:extLst>
  </p:cSld>
  <p:clrMapOvr>
    <a:masterClrMapping/>
  </p:clrMapOvr>
</p:sldLayout>
</file>

<file path=ppt/slideLayouts/slideLayout3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C124FBD-F2C4-279C-F9B0-5ABF4EE883F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600584" y="1852409"/>
            <a:ext cx="523573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itle Placeholder 9">
            <a:extLst>
              <a:ext uri="{FF2B5EF4-FFF2-40B4-BE49-F238E27FC236}">
                <a16:creationId xmlns:a16="http://schemas.microsoft.com/office/drawing/2014/main" id="{88A9F1BF-CE47-6154-1BCB-84E3E2ED9CA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584" y="630452"/>
            <a:ext cx="523573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C0681E20-3F63-A276-39F5-6FCDBA23897B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Graphic 7">
            <a:extLst>
              <a:ext uri="{FF2B5EF4-FFF2-40B4-BE49-F238E27FC236}">
                <a16:creationId xmlns:a16="http://schemas.microsoft.com/office/drawing/2014/main" id="{D9B65896-BA90-975B-367C-AE317FB4278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11164257"/>
      </p:ext>
    </p:extLst>
  </p:cSld>
  <p:clrMapOvr>
    <a:masterClrMapping/>
  </p:clrMapOvr>
</p:sldLayout>
</file>

<file path=ppt/slideLayouts/slideLayout3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1852409"/>
            <a:ext cx="4020056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4020056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641067361"/>
      </p:ext>
    </p:extLst>
  </p:cSld>
  <p:clrMapOvr>
    <a:masterClrMapping/>
  </p:clrMapOvr>
</p:sldLayout>
</file>

<file path=ppt/slideLayouts/slideLayout3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0"/>
            <a:ext cx="11410790" cy="607679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09" y="1852409"/>
            <a:ext cx="10367067" cy="3841460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AB740E27-A29F-492B-08E9-082B59BB43B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5445316"/>
      </p:ext>
    </p:extLst>
  </p:cSld>
  <p:clrMapOvr>
    <a:masterClrMapping/>
  </p:clrMapOvr>
</p:sldLayout>
</file>

<file path=ppt/slideLayouts/slideLayout3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reative alt layou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780262" y="1836110"/>
            <a:ext cx="10411738" cy="5021889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0AD61E84-1484-FF95-5252-3DAED36D354E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310809" y="2204487"/>
            <a:ext cx="8769567" cy="3820626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5E1D8233-0493-FA29-763F-F87F5DB8DC0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0515736"/>
      </p:ext>
    </p:extLst>
  </p:cSld>
  <p:clrMapOvr>
    <a:masterClrMapping/>
  </p:clrMapOvr>
</p:sldLayout>
</file>

<file path=ppt/slideLayouts/slideLayout3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bleed image w/ title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Picture Placeholder 5">
            <a:extLst>
              <a:ext uri="{FF2B5EF4-FFF2-40B4-BE49-F238E27FC236}">
                <a16:creationId xmlns:a16="http://schemas.microsoft.com/office/drawing/2014/main" id="{AA79D279-E01D-2FF8-892E-7E54DC78655A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367067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262A9750-74B3-25EE-C73D-F57643CF3F27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2FEA4AF-BA26-DF4A-4362-EA586B018DFA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190B43A-1F1A-685A-AE3F-DF59CA6B9D60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61D15AFB-5EB5-6859-330E-5D38D23ABE3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68799179"/>
      </p:ext>
    </p:extLst>
  </p:cSld>
  <p:clrMapOvr>
    <a:masterClrMapping/>
  </p:clrMapOvr>
</p:sldLayout>
</file>

<file path=ppt/slideLayouts/slideLayout3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0BA3780-E198-F9AC-0BB9-F1C2C8156E4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4064000" y="1546917"/>
            <a:ext cx="4064000" cy="4401332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0" name="Picture Placeholder 4">
            <a:extLst>
              <a:ext uri="{FF2B5EF4-FFF2-40B4-BE49-F238E27FC236}">
                <a16:creationId xmlns:a16="http://schemas.microsoft.com/office/drawing/2014/main" id="{7EFA4C51-582F-EAB4-E4E1-3A9AFC449FC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128000" y="1546917"/>
            <a:ext cx="4064000" cy="4401332"/>
          </a:xfrm>
          <a:solidFill>
            <a:schemeClr val="bg2">
              <a:lumMod val="7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4" name="Title Placeholder 9">
            <a:extLst>
              <a:ext uri="{FF2B5EF4-FFF2-40B4-BE49-F238E27FC236}">
                <a16:creationId xmlns:a16="http://schemas.microsoft.com/office/drawing/2014/main" id="{6D35B1D0-7F5B-1281-0901-EB0AEACD5A3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2" cy="916465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>
              <a:defRPr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5400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9738E54E-9756-7427-D2F0-6956A56C52E6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308260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4" name="Text Placeholder 21">
            <a:extLst>
              <a:ext uri="{FF2B5EF4-FFF2-40B4-BE49-F238E27FC236}">
                <a16:creationId xmlns:a16="http://schemas.microsoft.com/office/drawing/2014/main" id="{0A1CE42A-F0CC-F889-601A-FF9A290D0E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78371" y="3801979"/>
            <a:ext cx="3575480" cy="2146271"/>
          </a:xfrm>
        </p:spPr>
        <p:txBody>
          <a:bodyPr/>
          <a:lstStyle>
            <a:lvl1pPr>
              <a:lnSpc>
                <a:spcPct val="90000"/>
              </a:lnSpc>
              <a:defRPr sz="2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bg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141011803"/>
      </p:ext>
    </p:extLst>
  </p:cSld>
  <p:clrMapOvr>
    <a:masterClrMapping/>
  </p:clrMapOvr>
</p:sldLayout>
</file>

<file path=ppt/slideLayouts/slideLayout3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g points al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4">
            <a:extLst>
              <a:ext uri="{FF2B5EF4-FFF2-40B4-BE49-F238E27FC236}">
                <a16:creationId xmlns:a16="http://schemas.microsoft.com/office/drawing/2014/main" id="{D7DABD4B-2975-AE38-332F-5FDBF2D954D8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0" y="2466563"/>
            <a:ext cx="12192000" cy="4391435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Footer Placeholder 1">
            <a:extLst>
              <a:ext uri="{FF2B5EF4-FFF2-40B4-BE49-F238E27FC236}">
                <a16:creationId xmlns:a16="http://schemas.microsoft.com/office/drawing/2014/main" id="{032EEFD7-0652-5AEC-37EE-916DAA8F1A4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2" name="Slide Number Placeholder 2">
            <a:extLst>
              <a:ext uri="{FF2B5EF4-FFF2-40B4-BE49-F238E27FC236}">
                <a16:creationId xmlns:a16="http://schemas.microsoft.com/office/drawing/2014/main" id="{A65E82F7-58DD-E3AC-1F7F-67B42DF6EA3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A04BD03F-89B5-2E4F-6F4D-D8F1192ECF4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13309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504354D-1865-ED5F-009C-780CE8306BC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7ED6D24-311D-8481-73DE-B5F7E4C684D8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ext Placeholder 21">
            <a:extLst>
              <a:ext uri="{FF2B5EF4-FFF2-40B4-BE49-F238E27FC236}">
                <a16:creationId xmlns:a16="http://schemas.microsoft.com/office/drawing/2014/main" id="{3C89EB02-D30D-DD07-85C6-CD7EF8EF47B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76000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21">
            <a:extLst>
              <a:ext uri="{FF2B5EF4-FFF2-40B4-BE49-F238E27FC236}">
                <a16:creationId xmlns:a16="http://schemas.microsoft.com/office/drawing/2014/main" id="{673BB639-2CF9-9BD7-315B-640082FF336A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238691" y="2466563"/>
            <a:ext cx="3240000" cy="3240000"/>
          </a:xfrm>
          <a:solidFill>
            <a:schemeClr val="bg1"/>
          </a:solidFill>
        </p:spPr>
        <p:txBody>
          <a:bodyPr lIns="288000" tIns="432000" rIns="216000"/>
          <a:lstStyle>
            <a:lvl1pPr>
              <a:lnSpc>
                <a:spcPct val="90000"/>
              </a:lnSpc>
              <a:defRPr sz="2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1600" b="0" i="0">
                <a:solidFill>
                  <a:schemeClr val="tx1"/>
                </a:solidFill>
                <a:latin typeface="+mn-lt"/>
                <a:cs typeface="Poppins ExtraLight" pitchFamily="2" charset="77"/>
              </a:defRPr>
            </a:lvl2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pic>
        <p:nvPicPr>
          <p:cNvPr id="5" name="Graphic 4">
            <a:extLst>
              <a:ext uri="{FF2B5EF4-FFF2-40B4-BE49-F238E27FC236}">
                <a16:creationId xmlns:a16="http://schemas.microsoft.com/office/drawing/2014/main" id="{33368FC9-3152-64DD-900A-43FF7BFBC8D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62592613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47698736"/>
      </p:ext>
    </p:extLst>
  </p:cSld>
  <p:clrMapOvr>
    <a:masterClrMapping/>
  </p:clrMapOvr>
</p:sldLayout>
</file>

<file path=ppt/slideLayouts/slideLayout3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54572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cxnSp>
        <p:nvCxnSpPr>
          <p:cNvPr id="2" name="Straight Connector 1">
            <a:extLst>
              <a:ext uri="{FF2B5EF4-FFF2-40B4-BE49-F238E27FC236}">
                <a16:creationId xmlns:a16="http://schemas.microsoft.com/office/drawing/2014/main" id="{30681A36-BF63-97EC-72E9-BA871BF39F94}"/>
              </a:ext>
            </a:extLst>
          </p:cNvPr>
          <p:cNvCxnSpPr>
            <a:cxnSpLocks/>
          </p:cNvCxnSpPr>
          <p:nvPr userDrawn="1"/>
        </p:nvCxnSpPr>
        <p:spPr>
          <a:xfrm>
            <a:off x="980707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" name="Graphic 2">
            <a:extLst>
              <a:ext uri="{FF2B5EF4-FFF2-40B4-BE49-F238E27FC236}">
                <a16:creationId xmlns:a16="http://schemas.microsoft.com/office/drawing/2014/main" id="{A907E154-177B-6875-738B-AA48E0B73B2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80707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64185774"/>
      </p:ext>
    </p:extLst>
  </p:cSld>
  <p:clrMapOvr>
    <a:masterClrMapping/>
  </p:clrMapOvr>
</p:sldLayout>
</file>

<file path=ppt/slideLayouts/slideLayout3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A60B0975-048D-10A5-BE97-E820CA57CAE3}"/>
              </a:ext>
            </a:extLst>
          </p:cNvPr>
          <p:cNvSpPr/>
          <p:nvPr userDrawn="1"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5" name="Picture Placeholder 15">
            <a:extLst>
              <a:ext uri="{FF2B5EF4-FFF2-40B4-BE49-F238E27FC236}">
                <a16:creationId xmlns:a16="http://schemas.microsoft.com/office/drawing/2014/main" id="{B55C8373-2FAF-826F-6B5F-588CC4B9B8E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646279" cy="685800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16" name="Text Placeholder 14">
            <a:extLst>
              <a:ext uri="{FF2B5EF4-FFF2-40B4-BE49-F238E27FC236}">
                <a16:creationId xmlns:a16="http://schemas.microsoft.com/office/drawing/2014/main" id="{2444A488-AA2C-F040-A0F8-D64B913E3D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651236" y="2546238"/>
            <a:ext cx="5535806" cy="1428034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 </a:t>
            </a:r>
            <a:br>
              <a:rPr lang="en-GB"/>
            </a:br>
            <a:r>
              <a:rPr lang="en-GB"/>
              <a:t>for listening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AAC7785F-1C5C-463C-D340-DD1BA7A6320B}"/>
              </a:ext>
            </a:extLst>
          </p:cNvPr>
          <p:cNvCxnSpPr>
            <a:cxnSpLocks/>
          </p:cNvCxnSpPr>
          <p:nvPr userDrawn="1"/>
        </p:nvCxnSpPr>
        <p:spPr>
          <a:xfrm>
            <a:off x="5751074" y="2233475"/>
            <a:ext cx="4751582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Graphic 1">
            <a:extLst>
              <a:ext uri="{FF2B5EF4-FFF2-40B4-BE49-F238E27FC236}">
                <a16:creationId xmlns:a16="http://schemas.microsoft.com/office/drawing/2014/main" id="{ADD4D185-64C2-2715-B28D-7015374C88D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5802576" y="1219314"/>
            <a:ext cx="2993493" cy="846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8737813"/>
      </p:ext>
    </p:extLst>
  </p:cSld>
  <p:clrMapOvr>
    <a:masterClrMapping/>
  </p:clrMapOvr>
</p:sldLayout>
</file>

<file path=ppt/slideLayouts/slideLayout3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7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854117" y="-1"/>
            <a:ext cx="8331866" cy="1882585"/>
          </a:xfrm>
          <a:solidFill>
            <a:schemeClr val="bg2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26218" y="708004"/>
            <a:ext cx="7965782" cy="1174580"/>
          </a:xfrm>
        </p:spPr>
        <p:txBody>
          <a:bodyPr anchor="t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8D18BDCF-2CAA-0109-CDBB-C68EA25B6E1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5" y="6362533"/>
            <a:ext cx="1169392" cy="306000"/>
          </a:xfrm>
          <a:prstGeom prst="rect">
            <a:avLst/>
          </a:prstGeom>
        </p:spPr>
      </p:pic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6F79B367-394D-390C-B619-216A26D7CDD1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68CB876D-855A-C17A-648E-0C55580AA10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rcRect l="60447"/>
          <a:stretch/>
        </p:blipFill>
        <p:spPr>
          <a:xfrm>
            <a:off x="0" y="664160"/>
            <a:ext cx="3470500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38286571"/>
      </p:ext>
    </p:extLst>
  </p:cSld>
  <p:clrMapOvr>
    <a:masterClrMapping/>
  </p:clrMapOvr>
</p:sldLayout>
</file>

<file path=ppt/slideLayouts/slideLayout3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3429000"/>
            <a:ext cx="12185983" cy="3429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 rot="16200000">
            <a:off x="2048400" y="-2481943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E42C7237-D665-9688-DBE0-D27B08E363F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886B5C93-B384-FC1D-4932-B7A7BC910EB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18" name="Text Placeholder 15">
            <a:extLst>
              <a:ext uri="{FF2B5EF4-FFF2-40B4-BE49-F238E27FC236}">
                <a16:creationId xmlns:a16="http://schemas.microsoft.com/office/drawing/2014/main" id="{2DDED54C-4D4D-2B68-0330-6775E74F7351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0" y="-1"/>
            <a:ext cx="3430800" cy="3430800"/>
          </a:xfrm>
          <a:solidFill>
            <a:schemeClr val="bg1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980329" y="1"/>
            <a:ext cx="8211671" cy="3428998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tx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Divider or sec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sp>
        <p:nvSpPr>
          <p:cNvPr id="2" name="Text Placeholder 9">
            <a:extLst>
              <a:ext uri="{FF2B5EF4-FFF2-40B4-BE49-F238E27FC236}">
                <a16:creationId xmlns:a16="http://schemas.microsoft.com/office/drawing/2014/main" id="{BEE6174C-8B75-B6C9-0C97-8F6809ED354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" y="0"/>
            <a:ext cx="3430800" cy="3428999"/>
          </a:xfrm>
          <a:noFill/>
        </p:spPr>
        <p:txBody>
          <a:bodyPr tIns="251999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15000" b="0" i="0">
                <a:gradFill>
                  <a:gsLst>
                    <a:gs pos="0">
                      <a:schemeClr val="accent2"/>
                    </a:gs>
                    <a:gs pos="99000">
                      <a:schemeClr val="accent1"/>
                    </a:gs>
                  </a:gsLst>
                  <a:lin ang="0" scaled="1"/>
                </a:gradFill>
                <a:latin typeface="Poppins Thin" pitchFamily="2" charset="77"/>
                <a:cs typeface="Poppins Thin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0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5B09BA30-1DEC-1819-B3B4-4905A37F994A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Graphic 6">
            <a:extLst>
              <a:ext uri="{FF2B5EF4-FFF2-40B4-BE49-F238E27FC236}">
                <a16:creationId xmlns:a16="http://schemas.microsoft.com/office/drawing/2014/main" id="{8EA14BF4-7169-3089-97E5-F93D27691334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114801" y="3428998"/>
            <a:ext cx="8774265" cy="1010472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99AA912B-3510-54DE-244F-D9BBC5C30F2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2842927"/>
      </p:ext>
    </p:extLst>
  </p:cSld>
  <p:clrMapOvr>
    <a:masterClrMapping/>
  </p:clrMapOvr>
</p:sldLayout>
</file>

<file path=ppt/slideLayouts/slideLayout3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925637" y="830948"/>
            <a:ext cx="8340725" cy="4572003"/>
          </a:xfrm>
        </p:spPr>
        <p:txBody>
          <a:bodyPr anchor="ctr"/>
          <a:lstStyle>
            <a:lvl1pPr algn="ctr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</a:t>
            </a:r>
            <a:br>
              <a:rPr lang="en-GB"/>
            </a:br>
            <a:r>
              <a:rPr lang="en-GB"/>
              <a:t>goes here</a:t>
            </a:r>
          </a:p>
        </p:txBody>
      </p:sp>
      <p:sp>
        <p:nvSpPr>
          <p:cNvPr id="7" name="Footer Placeholder 1">
            <a:extLst>
              <a:ext uri="{FF2B5EF4-FFF2-40B4-BE49-F238E27FC236}">
                <a16:creationId xmlns:a16="http://schemas.microsoft.com/office/drawing/2014/main" id="{E75ED0BB-E2C9-7C0C-26E2-BC1652112A5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8" name="Slide Number Placeholder 2">
            <a:extLst>
              <a:ext uri="{FF2B5EF4-FFF2-40B4-BE49-F238E27FC236}">
                <a16:creationId xmlns:a16="http://schemas.microsoft.com/office/drawing/2014/main" id="{58746FD9-2940-C5E7-3A89-0B78583FFE1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cxnSp>
        <p:nvCxnSpPr>
          <p:cNvPr id="3" name="Straight Connector 2">
            <a:extLst>
              <a:ext uri="{FF2B5EF4-FFF2-40B4-BE49-F238E27FC236}">
                <a16:creationId xmlns:a16="http://schemas.microsoft.com/office/drawing/2014/main" id="{DAFD14E3-0BA7-F7B6-B730-48F6007D9B9E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27258B20-4977-CDCF-4986-9219A221F3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91115858"/>
      </p:ext>
    </p:extLst>
  </p:cSld>
  <p:clrMapOvr>
    <a:masterClrMapping/>
  </p:clrMapOvr>
</p:sldLayout>
</file>

<file path=ppt/slideLayouts/slideLayout3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16" y="1045036"/>
            <a:ext cx="12185983" cy="4767928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19" name="Text Placeholder 9">
            <a:extLst>
              <a:ext uri="{FF2B5EF4-FFF2-40B4-BE49-F238E27FC236}">
                <a16:creationId xmlns:a16="http://schemas.microsoft.com/office/drawing/2014/main" id="{4FB3285A-472B-BA5B-9117-21B1A57801C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62741" y="1292535"/>
            <a:ext cx="9859424" cy="4272930"/>
          </a:xfrm>
        </p:spPr>
        <p:txBody>
          <a:bodyPr anchor="ctr"/>
          <a:lstStyle>
            <a:lvl1pPr algn="l">
              <a:lnSpc>
                <a:spcPct val="90000"/>
              </a:lnSpc>
              <a:defRPr sz="6000" b="0" i="0">
                <a:solidFill>
                  <a:schemeClr val="bg1"/>
                </a:solidFill>
                <a:latin typeface="Poppins ExtraLight" pitchFamily="2" charset="77"/>
                <a:cs typeface="Poppins ExtraLight" pitchFamily="2" charset="77"/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Big statement goes here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1C4C770-A668-E884-4124-234CC37016D5}"/>
              </a:ext>
            </a:extLst>
          </p:cNvPr>
          <p:cNvSpPr>
            <a:spLocks noGrp="1"/>
          </p:cNvSpPr>
          <p:nvPr>
            <p:ph type="ftr" sz="quarter" idx="20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4FDA301-1BF5-380B-B3C4-E5F169DE9B70}"/>
              </a:ext>
            </a:extLst>
          </p:cNvPr>
          <p:cNvSpPr>
            <a:spLocks noGrp="1"/>
          </p:cNvSpPr>
          <p:nvPr>
            <p:ph type="sldNum" sz="quarter" idx="21"/>
          </p:nvPr>
        </p:nvSpPr>
        <p:spPr/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82F51A6-2172-AC56-BF64-B833C8F9A7D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r="44100"/>
          <a:stretch/>
        </p:blipFill>
        <p:spPr>
          <a:xfrm>
            <a:off x="7281207" y="303838"/>
            <a:ext cx="4904777" cy="101047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25251197"/>
      </p:ext>
    </p:extLst>
  </p:cSld>
  <p:clrMapOvr>
    <a:masterClrMapping/>
  </p:clrMapOvr>
</p:sldLayout>
</file>

<file path=ppt/slideLayouts/slideLayout3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 userDrawn="1"/>
        </p:nvSpPr>
        <p:spPr>
          <a:xfrm flipH="1">
            <a:off x="5130800" y="0"/>
            <a:ext cx="7061199" cy="6858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841484" y="6304045"/>
            <a:ext cx="4495800" cy="421246"/>
          </a:xfrm>
          <a:prstGeom prst="rect">
            <a:avLst/>
          </a:prstGeom>
        </p:spPr>
        <p:txBody>
          <a:bodyPr/>
          <a:lstStyle/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342053" y="6304045"/>
            <a:ext cx="494264" cy="421246"/>
          </a:xfrm>
          <a:prstGeom prst="rect">
            <a:avLst/>
          </a:prstGeom>
        </p:spPr>
        <p:txBody>
          <a:bodyPr/>
          <a:lstStyle/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 userDrawn="1"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42B19E06-A5F5-02B6-EAB1-9993E8123886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3310" y="3033823"/>
            <a:ext cx="2725383" cy="2857727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6" name="Title Placeholder 9">
            <a:extLst>
              <a:ext uri="{FF2B5EF4-FFF2-40B4-BE49-F238E27FC236}">
                <a16:creationId xmlns:a16="http://schemas.microsoft.com/office/drawing/2014/main" id="{465B5E1B-0BC4-9169-CF24-41BF34BB07A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10" y="630452"/>
            <a:ext cx="2725383" cy="2326874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A9ED96F9-7C1E-2BCC-F09E-85DB2B0AB95D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8" name="Browser">
            <a:extLst>
              <a:ext uri="{FF2B5EF4-FFF2-40B4-BE49-F238E27FC236}">
                <a16:creationId xmlns:a16="http://schemas.microsoft.com/office/drawing/2014/main" id="{4CC47954-EA8C-6B3D-7274-E5C0B3CAA158}"/>
              </a:ext>
            </a:extLst>
          </p:cNvPr>
          <p:cNvGrpSpPr/>
          <p:nvPr userDrawn="1"/>
        </p:nvGrpSpPr>
        <p:grpSpPr>
          <a:xfrm>
            <a:off x="3748254" y="904878"/>
            <a:ext cx="8107831" cy="4911542"/>
            <a:chOff x="3690548" y="429354"/>
            <a:chExt cx="7883614" cy="5425662"/>
          </a:xfrm>
        </p:grpSpPr>
        <p:sp>
          <p:nvSpPr>
            <p:cNvPr id="19" name="Wireframe dropshadow">
              <a:extLst>
                <a:ext uri="{FF2B5EF4-FFF2-40B4-BE49-F238E27FC236}">
                  <a16:creationId xmlns:a16="http://schemas.microsoft.com/office/drawing/2014/main" id="{D2354F2C-0E52-DF17-B18B-DB6A228FD3B1}"/>
                </a:ext>
              </a:extLst>
            </p:cNvPr>
            <p:cNvSpPr/>
            <p:nvPr/>
          </p:nvSpPr>
          <p:spPr>
            <a:xfrm>
              <a:off x="3690548" y="429354"/>
              <a:ext cx="7883611" cy="5425662"/>
            </a:xfrm>
            <a:prstGeom prst="roundRect">
              <a:avLst>
                <a:gd name="adj" fmla="val 1875"/>
              </a:avLst>
            </a:prstGeom>
            <a:solidFill>
              <a:srgbClr val="FFFFFF"/>
            </a:solidFill>
            <a:ln>
              <a:noFill/>
            </a:ln>
            <a:effectLst>
              <a:outerShdw blurRad="127000" sx="102000" sy="102000" algn="ctr" rotWithShape="0">
                <a:prstClr val="black">
                  <a:alpha val="1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sp>
          <p:nvSpPr>
            <p:cNvPr id="25" name="Browser menu top">
              <a:extLst>
                <a:ext uri="{FF2B5EF4-FFF2-40B4-BE49-F238E27FC236}">
                  <a16:creationId xmlns:a16="http://schemas.microsoft.com/office/drawing/2014/main" id="{51392A84-07DC-5BF7-D4F9-286803FF7B53}"/>
                </a:ext>
              </a:extLst>
            </p:cNvPr>
            <p:cNvSpPr/>
            <p:nvPr/>
          </p:nvSpPr>
          <p:spPr>
            <a:xfrm>
              <a:off x="3690551" y="429354"/>
              <a:ext cx="7883611" cy="318791"/>
            </a:xfrm>
            <a:prstGeom prst="round2SameRect">
              <a:avLst>
                <a:gd name="adj1" fmla="val 33321"/>
                <a:gd name="adj2" fmla="val 0"/>
              </a:avLst>
            </a:prstGeom>
            <a:gradFill>
              <a:gsLst>
                <a:gs pos="72000">
                  <a:srgbClr val="D8D8D8">
                    <a:lumMod val="85323"/>
                    <a:lumOff val="14677"/>
                  </a:srgbClr>
                </a:gs>
                <a:gs pos="0">
                  <a:srgbClr val="616161">
                    <a:lumMod val="5000"/>
                    <a:lumOff val="95000"/>
                  </a:srgbClr>
                </a:gs>
                <a:gs pos="99000">
                  <a:srgbClr val="616161">
                    <a:lumMod val="30000"/>
                    <a:lumOff val="70000"/>
                  </a:srgbClr>
                </a:gs>
              </a:gsLst>
              <a:lin ang="5400000" scaled="1"/>
            </a:gradFill>
            <a:ln>
              <a:noFill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Georgia Pro Light"/>
                <a:ea typeface="+mn-ea"/>
                <a:cs typeface="+mn-cs"/>
              </a:endParaRPr>
            </a:p>
          </p:txBody>
        </p:sp>
        <p:grpSp>
          <p:nvGrpSpPr>
            <p:cNvPr id="21" name="Browser menu circles">
              <a:extLst>
                <a:ext uri="{FF2B5EF4-FFF2-40B4-BE49-F238E27FC236}">
                  <a16:creationId xmlns:a16="http://schemas.microsoft.com/office/drawing/2014/main" id="{56819352-0518-3256-5831-86AEFC395DB9}"/>
                </a:ext>
              </a:extLst>
            </p:cNvPr>
            <p:cNvGrpSpPr/>
            <p:nvPr/>
          </p:nvGrpSpPr>
          <p:grpSpPr>
            <a:xfrm>
              <a:off x="3832208" y="546802"/>
              <a:ext cx="423588" cy="101090"/>
              <a:chOff x="3832208" y="546802"/>
              <a:chExt cx="423588" cy="101090"/>
            </a:xfrm>
            <a:solidFill>
              <a:srgbClr val="616161">
                <a:lumMod val="60000"/>
                <a:lumOff val="40000"/>
              </a:srgbClr>
            </a:solidFill>
          </p:grpSpPr>
          <p:sp>
            <p:nvSpPr>
              <p:cNvPr id="22" name="Oval 21">
                <a:extLst>
                  <a:ext uri="{FF2B5EF4-FFF2-40B4-BE49-F238E27FC236}">
                    <a16:creationId xmlns:a16="http://schemas.microsoft.com/office/drawing/2014/main" id="{9C7C791C-90A1-FD07-7ED8-85597FADD868}"/>
                  </a:ext>
                </a:extLst>
              </p:cNvPr>
              <p:cNvSpPr/>
              <p:nvPr/>
            </p:nvSpPr>
            <p:spPr>
              <a:xfrm>
                <a:off x="383220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3" name="Oval 22">
                <a:extLst>
                  <a:ext uri="{FF2B5EF4-FFF2-40B4-BE49-F238E27FC236}">
                    <a16:creationId xmlns:a16="http://schemas.microsoft.com/office/drawing/2014/main" id="{F0B7C597-55B4-7457-91CB-118DB0906453}"/>
                  </a:ext>
                </a:extLst>
              </p:cNvPr>
              <p:cNvSpPr/>
              <p:nvPr/>
            </p:nvSpPr>
            <p:spPr>
              <a:xfrm>
                <a:off x="3997718" y="546802"/>
                <a:ext cx="87182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  <p:sp>
            <p:nvSpPr>
              <p:cNvPr id="24" name="Oval 23">
                <a:extLst>
                  <a:ext uri="{FF2B5EF4-FFF2-40B4-BE49-F238E27FC236}">
                    <a16:creationId xmlns:a16="http://schemas.microsoft.com/office/drawing/2014/main" id="{258CC4DC-5710-D193-135B-EE775BCDC5C6}"/>
                  </a:ext>
                </a:extLst>
              </p:cNvPr>
              <p:cNvSpPr/>
              <p:nvPr/>
            </p:nvSpPr>
            <p:spPr>
              <a:xfrm>
                <a:off x="4168613" y="546802"/>
                <a:ext cx="87183" cy="101090"/>
              </a:xfrm>
              <a:prstGeom prst="ellipse">
                <a:avLst/>
              </a:prstGeom>
              <a:grpFill/>
              <a:ln>
                <a:noFill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800" b="0" i="0" u="none" strike="noStrike" kern="0" cap="none" spc="0" normalizeH="0" baseline="0" noProof="0">
                  <a:ln>
                    <a:noFill/>
                  </a:ln>
                  <a:solidFill>
                    <a:srgbClr val="FFFFFF"/>
                  </a:solidFill>
                  <a:effectLst/>
                  <a:uLnTx/>
                  <a:uFillTx/>
                  <a:latin typeface="Georgia Pro Light"/>
                  <a:ea typeface="+mn-ea"/>
                  <a:cs typeface="+mn-cs"/>
                </a:endParaRPr>
              </a:p>
            </p:txBody>
          </p:sp>
        </p:grpSp>
      </p:grp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A1D311B7-81CC-1BF0-F5E8-2C26CA54BCDD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3748088" y="1193800"/>
            <a:ext cx="8107362" cy="4622800"/>
          </a:xfrm>
          <a:prstGeom prst="round2SameRect">
            <a:avLst>
              <a:gd name="adj1" fmla="val 0"/>
              <a:gd name="adj2" fmla="val 2012"/>
            </a:avLst>
          </a:prstGeo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66863303"/>
      </p:ext>
    </p:extLst>
  </p:cSld>
  <p:clrMapOvr>
    <a:masterClrMapping/>
  </p:clrMapOvr>
</p:sldLayout>
</file>

<file path=ppt/slideLayouts/slideLayout3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949074"/>
      </p:ext>
    </p:extLst>
  </p:cSld>
  <p:clrMapOvr>
    <a:masterClrMapping/>
  </p:clrMapOvr>
</p:sldLayout>
</file>

<file path=ppt/slideLayouts/slideLayout3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94187318"/>
      </p:ext>
    </p:extLst>
  </p:cSld>
  <p:clrMapOvr>
    <a:masterClrMapping/>
  </p:clrMapOvr>
</p:sldLayout>
</file>

<file path=ppt/slideLayouts/slideLayout3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81575"/>
            <a:ext cx="4720182" cy="764359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</p:spTree>
    <p:extLst>
      <p:ext uri="{BB962C8B-B14F-4D97-AF65-F5344CB8AC3E}">
        <p14:creationId xmlns:p14="http://schemas.microsoft.com/office/powerpoint/2010/main" val="7079341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4">
            <a:extLst>
              <a:ext uri="{FF2B5EF4-FFF2-40B4-BE49-F238E27FC236}">
                <a16:creationId xmlns:a16="http://schemas.microsoft.com/office/drawing/2014/main" id="{9D0571CB-8BC9-D84F-9E30-8938179DFC8A}"/>
              </a:ext>
            </a:extLst>
          </p:cNvPr>
          <p:cNvSpPr/>
          <p:nvPr userDrawn="1"/>
        </p:nvSpPr>
        <p:spPr>
          <a:xfrm>
            <a:off x="3980268" y="0"/>
            <a:ext cx="2591755" cy="6858000"/>
          </a:xfrm>
          <a:custGeom>
            <a:avLst/>
            <a:gdLst>
              <a:gd name="connsiteX0" fmla="*/ 1896356 w 2591755"/>
              <a:gd name="connsiteY0" fmla="*/ 0 h 6858000"/>
              <a:gd name="connsiteX1" fmla="*/ 2591755 w 2591755"/>
              <a:gd name="connsiteY1" fmla="*/ 0 h 6858000"/>
              <a:gd name="connsiteX2" fmla="*/ 695399 w 2591755"/>
              <a:gd name="connsiteY2" fmla="*/ 6858000 h 6858000"/>
              <a:gd name="connsiteX3" fmla="*/ 0 w 2591755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591755" h="6858000">
                <a:moveTo>
                  <a:pt x="1896356" y="0"/>
                </a:moveTo>
                <a:lnTo>
                  <a:pt x="2591755" y="0"/>
                </a:lnTo>
                <a:lnTo>
                  <a:pt x="695399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1000">
                <a:schemeClr val="accent2">
                  <a:alpha val="90000"/>
                </a:schemeClr>
              </a:gs>
              <a:gs pos="95000">
                <a:schemeClr val="accent3">
                  <a:alpha val="90000"/>
                </a:schemeClr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2971CB30-64C4-144F-8D41-BDABE18F052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675668" y="0"/>
            <a:ext cx="7516333" cy="6858000"/>
          </a:xfrm>
          <a:custGeom>
            <a:avLst/>
            <a:gdLst>
              <a:gd name="connsiteX0" fmla="*/ 1896356 w 7516333"/>
              <a:gd name="connsiteY0" fmla="*/ 0 h 6858000"/>
              <a:gd name="connsiteX1" fmla="*/ 7516333 w 7516333"/>
              <a:gd name="connsiteY1" fmla="*/ 0 h 6858000"/>
              <a:gd name="connsiteX2" fmla="*/ 7516333 w 7516333"/>
              <a:gd name="connsiteY2" fmla="*/ 6858000 h 6858000"/>
              <a:gd name="connsiteX3" fmla="*/ 0 w 751633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7516333" h="6858000">
                <a:moveTo>
                  <a:pt x="1896356" y="0"/>
                </a:moveTo>
                <a:lnTo>
                  <a:pt x="7516333" y="0"/>
                </a:lnTo>
                <a:lnTo>
                  <a:pt x="751633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6" name="Freeform 5">
            <a:extLst>
              <a:ext uri="{FF2B5EF4-FFF2-40B4-BE49-F238E27FC236}">
                <a16:creationId xmlns:a16="http://schemas.microsoft.com/office/drawing/2014/main" id="{84B6E5DE-49BC-3F42-9544-E7E7A6D8ABEF}"/>
              </a:ext>
            </a:extLst>
          </p:cNvPr>
          <p:cNvSpPr/>
          <p:nvPr userDrawn="1"/>
        </p:nvSpPr>
        <p:spPr>
          <a:xfrm>
            <a:off x="0" y="0"/>
            <a:ext cx="6095999" cy="6858000"/>
          </a:xfrm>
          <a:custGeom>
            <a:avLst/>
            <a:gdLst>
              <a:gd name="connsiteX0" fmla="*/ 0 w 5907109"/>
              <a:gd name="connsiteY0" fmla="*/ 0 h 6858000"/>
              <a:gd name="connsiteX1" fmla="*/ 5907109 w 5907109"/>
              <a:gd name="connsiteY1" fmla="*/ 0 h 6858000"/>
              <a:gd name="connsiteX2" fmla="*/ 4069513 w 5907109"/>
              <a:gd name="connsiteY2" fmla="*/ 6858000 h 6858000"/>
              <a:gd name="connsiteX3" fmla="*/ 0 w 590710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907109" h="6858000">
                <a:moveTo>
                  <a:pt x="0" y="0"/>
                </a:moveTo>
                <a:lnTo>
                  <a:pt x="5907109" y="0"/>
                </a:lnTo>
                <a:lnTo>
                  <a:pt x="4069513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701040" y="804863"/>
            <a:ext cx="4396740" cy="1355407"/>
          </a:xfrm>
        </p:spPr>
        <p:txBody>
          <a:bodyPr lIns="0" rIns="0">
            <a:no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5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</a:t>
            </a:r>
            <a:br>
              <a:rPr lang="en-GB"/>
            </a:br>
            <a:r>
              <a:rPr lang="en-GB"/>
              <a:t>title goes here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902669FF-10A9-8441-81B5-A909A02D7E5B}"/>
              </a:ext>
            </a:extLst>
          </p:cNvPr>
          <p:cNvGrpSpPr/>
          <p:nvPr userDrawn="1"/>
        </p:nvGrpSpPr>
        <p:grpSpPr>
          <a:xfrm>
            <a:off x="562233" y="5325750"/>
            <a:ext cx="3107390" cy="1255133"/>
            <a:chOff x="562233" y="5325750"/>
            <a:chExt cx="3107390" cy="1255133"/>
          </a:xfrm>
        </p:grpSpPr>
        <p:pic>
          <p:nvPicPr>
            <p:cNvPr id="3" name="Picture 2" descr="A picture containing text, clipart&#10;&#10;Description automatically generated">
              <a:extLst>
                <a:ext uri="{FF2B5EF4-FFF2-40B4-BE49-F238E27FC236}">
                  <a16:creationId xmlns:a16="http://schemas.microsoft.com/office/drawing/2014/main" id="{DF19E0F1-E94E-0749-A898-486E786596D3}"/>
                </a:ext>
              </a:extLst>
            </p:cNvPr>
            <p:cNvPicPr>
              <a:picLocks noChangeAspect="1"/>
            </p:cNvPicPr>
            <p:nvPr userDrawn="1"/>
          </p:nvPicPr>
          <p:blipFill rotWithShape="1">
            <a:blip r:embed="rId2"/>
            <a:srcRect r="76735"/>
            <a:stretch/>
          </p:blipFill>
          <p:spPr>
            <a:xfrm>
              <a:off x="562233" y="5614268"/>
              <a:ext cx="704336" cy="678096"/>
            </a:xfrm>
            <a:prstGeom prst="rect">
              <a:avLst/>
            </a:prstGeom>
          </p:spPr>
        </p:pic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81DCADEB-46C0-334D-B7F1-CBAD26E24993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995644" y="5325750"/>
              <a:ext cx="2673979" cy="1255133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067743081"/>
      </p:ext>
    </p:extLst>
  </p:cSld>
  <p:clrMapOvr>
    <a:masterClrMapping/>
  </p:clrMapOvr>
</p:sldLayout>
</file>

<file path=ppt/slideLayouts/slideLayout3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lient 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A00F3E78-2B98-7C49-B46E-A733CA30431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9" name="Text Placeholder 27">
            <a:extLst>
              <a:ext uri="{FF2B5EF4-FFF2-40B4-BE49-F238E27FC236}">
                <a16:creationId xmlns:a16="http://schemas.microsoft.com/office/drawing/2014/main" id="{8A646979-CD1E-1D4C-85F5-624B90BE03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09600" y="2615139"/>
            <a:ext cx="3322320" cy="537997"/>
          </a:xfrm>
          <a:custGeom>
            <a:avLst/>
            <a:gdLst>
              <a:gd name="connsiteX0" fmla="*/ 1895453 w 5168519"/>
              <a:gd name="connsiteY0" fmla="*/ 363844 h 836961"/>
              <a:gd name="connsiteX1" fmla="*/ 1733628 w 5168519"/>
              <a:gd name="connsiteY1" fmla="*/ 531675 h 836961"/>
              <a:gd name="connsiteX2" fmla="*/ 1895453 w 5168519"/>
              <a:gd name="connsiteY2" fmla="*/ 700648 h 836961"/>
              <a:gd name="connsiteX3" fmla="*/ 2060515 w 5168519"/>
              <a:gd name="connsiteY3" fmla="*/ 531675 h 836961"/>
              <a:gd name="connsiteX4" fmla="*/ 2060568 w 5168519"/>
              <a:gd name="connsiteY4" fmla="*/ 525121 h 836961"/>
              <a:gd name="connsiteX5" fmla="*/ 1895453 w 5168519"/>
              <a:gd name="connsiteY5" fmla="*/ 363844 h 836961"/>
              <a:gd name="connsiteX6" fmla="*/ 3942071 w 5168519"/>
              <a:gd name="connsiteY6" fmla="*/ 362702 h 836961"/>
              <a:gd name="connsiteX7" fmla="*/ 3787480 w 5168519"/>
              <a:gd name="connsiteY7" fmla="*/ 532818 h 836961"/>
              <a:gd name="connsiteX8" fmla="*/ 3905939 w 5168519"/>
              <a:gd name="connsiteY8" fmla="*/ 698118 h 836961"/>
              <a:gd name="connsiteX9" fmla="*/ 3941976 w 5168519"/>
              <a:gd name="connsiteY9" fmla="*/ 701782 h 836961"/>
              <a:gd name="connsiteX10" fmla="*/ 3941881 w 5168519"/>
              <a:gd name="connsiteY10" fmla="*/ 701792 h 836961"/>
              <a:gd name="connsiteX11" fmla="*/ 3942071 w 5168519"/>
              <a:gd name="connsiteY11" fmla="*/ 701792 h 836961"/>
              <a:gd name="connsiteX12" fmla="*/ 3941976 w 5168519"/>
              <a:gd name="connsiteY12" fmla="*/ 701782 h 836961"/>
              <a:gd name="connsiteX13" fmla="*/ 3978022 w 5168519"/>
              <a:gd name="connsiteY13" fmla="*/ 698067 h 836961"/>
              <a:gd name="connsiteX14" fmla="*/ 4096662 w 5168519"/>
              <a:gd name="connsiteY14" fmla="*/ 532818 h 836961"/>
              <a:gd name="connsiteX15" fmla="*/ 3942071 w 5168519"/>
              <a:gd name="connsiteY15" fmla="*/ 362702 h 836961"/>
              <a:gd name="connsiteX16" fmla="*/ 2787112 w 5168519"/>
              <a:gd name="connsiteY16" fmla="*/ 357654 h 836961"/>
              <a:gd name="connsiteX17" fmla="*/ 2618623 w 5168519"/>
              <a:gd name="connsiteY17" fmla="*/ 531294 h 836961"/>
              <a:gd name="connsiteX18" fmla="*/ 2787112 w 5168519"/>
              <a:gd name="connsiteY18" fmla="*/ 706078 h 836961"/>
              <a:gd name="connsiteX19" fmla="*/ 2787112 w 5168519"/>
              <a:gd name="connsiteY19" fmla="*/ 706459 h 836961"/>
              <a:gd name="connsiteX20" fmla="*/ 2787112 w 5168519"/>
              <a:gd name="connsiteY20" fmla="*/ 357654 h 836961"/>
              <a:gd name="connsiteX21" fmla="*/ 1257575 w 5168519"/>
              <a:gd name="connsiteY21" fmla="*/ 353748 h 836961"/>
              <a:gd name="connsiteX22" fmla="*/ 1098319 w 5168519"/>
              <a:gd name="connsiteY22" fmla="*/ 465667 h 836961"/>
              <a:gd name="connsiteX23" fmla="*/ 1405217 w 5168519"/>
              <a:gd name="connsiteY23" fmla="*/ 465667 h 836961"/>
              <a:gd name="connsiteX24" fmla="*/ 1257575 w 5168519"/>
              <a:gd name="connsiteY24" fmla="*/ 353748 h 836961"/>
              <a:gd name="connsiteX25" fmla="*/ 2275077 w 5168519"/>
              <a:gd name="connsiteY25" fmla="*/ 242687 h 836961"/>
              <a:gd name="connsiteX26" fmla="*/ 2415770 w 5168519"/>
              <a:gd name="connsiteY26" fmla="*/ 242687 h 836961"/>
              <a:gd name="connsiteX27" fmla="*/ 2415770 w 5168519"/>
              <a:gd name="connsiteY27" fmla="*/ 819521 h 836961"/>
              <a:gd name="connsiteX28" fmla="*/ 2275077 w 5168519"/>
              <a:gd name="connsiteY28" fmla="*/ 819521 h 836961"/>
              <a:gd name="connsiteX29" fmla="*/ 4568241 w 5168519"/>
              <a:gd name="connsiteY29" fmla="*/ 234400 h 836961"/>
              <a:gd name="connsiteX30" fmla="*/ 4736730 w 5168519"/>
              <a:gd name="connsiteY30" fmla="*/ 341651 h 836961"/>
              <a:gd name="connsiteX31" fmla="*/ 4927113 w 5168519"/>
              <a:gd name="connsiteY31" fmla="*/ 236877 h 836961"/>
              <a:gd name="connsiteX32" fmla="*/ 5168519 w 5168519"/>
              <a:gd name="connsiteY32" fmla="*/ 509482 h 836961"/>
              <a:gd name="connsiteX33" fmla="*/ 5168519 w 5168519"/>
              <a:gd name="connsiteY33" fmla="*/ 819140 h 836961"/>
              <a:gd name="connsiteX34" fmla="*/ 5027826 w 5168519"/>
              <a:gd name="connsiteY34" fmla="*/ 819140 h 836961"/>
              <a:gd name="connsiteX35" fmla="*/ 5027826 w 5168519"/>
              <a:gd name="connsiteY35" fmla="*/ 509482 h 836961"/>
              <a:gd name="connsiteX36" fmla="*/ 4920450 w 5168519"/>
              <a:gd name="connsiteY36" fmla="*/ 369655 h 836961"/>
              <a:gd name="connsiteX37" fmla="*/ 4796701 w 5168519"/>
              <a:gd name="connsiteY37" fmla="*/ 511863 h 836961"/>
              <a:gd name="connsiteX38" fmla="*/ 4796701 w 5168519"/>
              <a:gd name="connsiteY38" fmla="*/ 819140 h 836961"/>
              <a:gd name="connsiteX39" fmla="*/ 4656008 w 5168519"/>
              <a:gd name="connsiteY39" fmla="*/ 819140 h 836961"/>
              <a:gd name="connsiteX40" fmla="*/ 4656008 w 5168519"/>
              <a:gd name="connsiteY40" fmla="*/ 511863 h 836961"/>
              <a:gd name="connsiteX41" fmla="*/ 4539493 w 5168519"/>
              <a:gd name="connsiteY41" fmla="*/ 367369 h 836961"/>
              <a:gd name="connsiteX42" fmla="*/ 4418314 w 5168519"/>
              <a:gd name="connsiteY42" fmla="*/ 511863 h 836961"/>
              <a:gd name="connsiteX43" fmla="*/ 4418314 w 5168519"/>
              <a:gd name="connsiteY43" fmla="*/ 819140 h 836961"/>
              <a:gd name="connsiteX44" fmla="*/ 4277526 w 5168519"/>
              <a:gd name="connsiteY44" fmla="*/ 819140 h 836961"/>
              <a:gd name="connsiteX45" fmla="*/ 4277526 w 5168519"/>
              <a:gd name="connsiteY45" fmla="*/ 243734 h 836961"/>
              <a:gd name="connsiteX46" fmla="*/ 4407939 w 5168519"/>
              <a:gd name="connsiteY46" fmla="*/ 243734 h 836961"/>
              <a:gd name="connsiteX47" fmla="*/ 4418314 w 5168519"/>
              <a:gd name="connsiteY47" fmla="*/ 313648 h 836961"/>
              <a:gd name="connsiteX48" fmla="*/ 4568241 w 5168519"/>
              <a:gd name="connsiteY48" fmla="*/ 234400 h 836961"/>
              <a:gd name="connsiteX49" fmla="*/ 290715 w 5168519"/>
              <a:gd name="connsiteY49" fmla="*/ 234400 h 836961"/>
              <a:gd name="connsiteX50" fmla="*/ 459204 w 5168519"/>
              <a:gd name="connsiteY50" fmla="*/ 341651 h 836961"/>
              <a:gd name="connsiteX51" fmla="*/ 649587 w 5168519"/>
              <a:gd name="connsiteY51" fmla="*/ 236877 h 836961"/>
              <a:gd name="connsiteX52" fmla="*/ 890707 w 5168519"/>
              <a:gd name="connsiteY52" fmla="*/ 509482 h 836961"/>
              <a:gd name="connsiteX53" fmla="*/ 890707 w 5168519"/>
              <a:gd name="connsiteY53" fmla="*/ 819140 h 836961"/>
              <a:gd name="connsiteX54" fmla="*/ 750300 w 5168519"/>
              <a:gd name="connsiteY54" fmla="*/ 819140 h 836961"/>
              <a:gd name="connsiteX55" fmla="*/ 750300 w 5168519"/>
              <a:gd name="connsiteY55" fmla="*/ 509482 h 836961"/>
              <a:gd name="connsiteX56" fmla="*/ 642924 w 5168519"/>
              <a:gd name="connsiteY56" fmla="*/ 369655 h 836961"/>
              <a:gd name="connsiteX57" fmla="*/ 519175 w 5168519"/>
              <a:gd name="connsiteY57" fmla="*/ 511863 h 836961"/>
              <a:gd name="connsiteX58" fmla="*/ 519175 w 5168519"/>
              <a:gd name="connsiteY58" fmla="*/ 819140 h 836961"/>
              <a:gd name="connsiteX59" fmla="*/ 378482 w 5168519"/>
              <a:gd name="connsiteY59" fmla="*/ 819140 h 836961"/>
              <a:gd name="connsiteX60" fmla="*/ 378482 w 5168519"/>
              <a:gd name="connsiteY60" fmla="*/ 511863 h 836961"/>
              <a:gd name="connsiteX61" fmla="*/ 261967 w 5168519"/>
              <a:gd name="connsiteY61" fmla="*/ 367369 h 836961"/>
              <a:gd name="connsiteX62" fmla="*/ 140788 w 5168519"/>
              <a:gd name="connsiteY62" fmla="*/ 511863 h 836961"/>
              <a:gd name="connsiteX63" fmla="*/ 140788 w 5168519"/>
              <a:gd name="connsiteY63" fmla="*/ 819140 h 836961"/>
              <a:gd name="connsiteX64" fmla="*/ 0 w 5168519"/>
              <a:gd name="connsiteY64" fmla="*/ 819140 h 836961"/>
              <a:gd name="connsiteX65" fmla="*/ 0 w 5168519"/>
              <a:gd name="connsiteY65" fmla="*/ 243830 h 836961"/>
              <a:gd name="connsiteX66" fmla="*/ 130412 w 5168519"/>
              <a:gd name="connsiteY66" fmla="*/ 243830 h 836961"/>
              <a:gd name="connsiteX67" fmla="*/ 140788 w 5168519"/>
              <a:gd name="connsiteY67" fmla="*/ 313648 h 836961"/>
              <a:gd name="connsiteX68" fmla="*/ 290715 w 5168519"/>
              <a:gd name="connsiteY68" fmla="*/ 234400 h 836961"/>
              <a:gd name="connsiteX69" fmla="*/ 3940929 w 5168519"/>
              <a:gd name="connsiteY69" fmla="*/ 233352 h 836961"/>
              <a:gd name="connsiteX70" fmla="*/ 4238307 w 5168519"/>
              <a:gd name="connsiteY70" fmla="*/ 532818 h 836961"/>
              <a:gd name="connsiteX71" fmla="*/ 3941786 w 5168519"/>
              <a:gd name="connsiteY71" fmla="*/ 832284 h 836961"/>
              <a:gd name="connsiteX72" fmla="*/ 3646692 w 5168519"/>
              <a:gd name="connsiteY72" fmla="*/ 532818 h 836961"/>
              <a:gd name="connsiteX73" fmla="*/ 3940929 w 5168519"/>
              <a:gd name="connsiteY73" fmla="*/ 233352 h 836961"/>
              <a:gd name="connsiteX74" fmla="*/ 2774737 w 5168519"/>
              <a:gd name="connsiteY74" fmla="*/ 230590 h 836961"/>
              <a:gd name="connsiteX75" fmla="*/ 2955601 w 5168519"/>
              <a:gd name="connsiteY75" fmla="*/ 323840 h 836961"/>
              <a:gd name="connsiteX76" fmla="*/ 2960456 w 5168519"/>
              <a:gd name="connsiteY76" fmla="*/ 244973 h 836961"/>
              <a:gd name="connsiteX77" fmla="*/ 3095152 w 5168519"/>
              <a:gd name="connsiteY77" fmla="*/ 244973 h 836961"/>
              <a:gd name="connsiteX78" fmla="*/ 3095152 w 5168519"/>
              <a:gd name="connsiteY78" fmla="*/ 819521 h 836961"/>
              <a:gd name="connsiteX79" fmla="*/ 2962455 w 5168519"/>
              <a:gd name="connsiteY79" fmla="*/ 819521 h 836961"/>
              <a:gd name="connsiteX80" fmla="*/ 2955601 w 5168519"/>
              <a:gd name="connsiteY80" fmla="*/ 735606 h 836961"/>
              <a:gd name="connsiteX81" fmla="*/ 2770930 w 5168519"/>
              <a:gd name="connsiteY81" fmla="*/ 836952 h 836961"/>
              <a:gd name="connsiteX82" fmla="*/ 2477930 w 5168519"/>
              <a:gd name="connsiteY82" fmla="*/ 531675 h 836961"/>
              <a:gd name="connsiteX83" fmla="*/ 2774737 w 5168519"/>
              <a:gd name="connsiteY83" fmla="*/ 230590 h 836961"/>
              <a:gd name="connsiteX84" fmla="*/ 3437461 w 5168519"/>
              <a:gd name="connsiteY84" fmla="*/ 228685 h 836961"/>
              <a:gd name="connsiteX85" fmla="*/ 3642885 w 5168519"/>
              <a:gd name="connsiteY85" fmla="*/ 313743 h 836961"/>
              <a:gd name="connsiteX86" fmla="*/ 3553976 w 5168519"/>
              <a:gd name="connsiteY86" fmla="*/ 408136 h 836961"/>
              <a:gd name="connsiteX87" fmla="*/ 3439746 w 5168519"/>
              <a:gd name="connsiteY87" fmla="*/ 362702 h 836961"/>
              <a:gd name="connsiteX88" fmla="*/ 3275921 w 5168519"/>
              <a:gd name="connsiteY88" fmla="*/ 532818 h 836961"/>
              <a:gd name="connsiteX89" fmla="*/ 3437747 w 5168519"/>
              <a:gd name="connsiteY89" fmla="*/ 700649 h 836961"/>
              <a:gd name="connsiteX90" fmla="*/ 3561782 w 5168519"/>
              <a:gd name="connsiteY90" fmla="*/ 652833 h 836961"/>
              <a:gd name="connsiteX91" fmla="*/ 3656402 w 5168519"/>
              <a:gd name="connsiteY91" fmla="*/ 746083 h 836961"/>
              <a:gd name="connsiteX92" fmla="*/ 3437461 w 5168519"/>
              <a:gd name="connsiteY92" fmla="*/ 836952 h 836961"/>
              <a:gd name="connsiteX93" fmla="*/ 3135228 w 5168519"/>
              <a:gd name="connsiteY93" fmla="*/ 532818 h 836961"/>
              <a:gd name="connsiteX94" fmla="*/ 3437461 w 5168519"/>
              <a:gd name="connsiteY94" fmla="*/ 228685 h 836961"/>
              <a:gd name="connsiteX95" fmla="*/ 1252910 w 5168519"/>
              <a:gd name="connsiteY95" fmla="*/ 227542 h 836961"/>
              <a:gd name="connsiteX96" fmla="*/ 1540198 w 5168519"/>
              <a:gd name="connsiteY96" fmla="*/ 582920 h 836961"/>
              <a:gd name="connsiteX97" fmla="*/ 1096415 w 5168519"/>
              <a:gd name="connsiteY97" fmla="*/ 582920 h 836961"/>
              <a:gd name="connsiteX98" fmla="*/ 1266047 w 5168519"/>
              <a:gd name="connsiteY98" fmla="*/ 705316 h 836961"/>
              <a:gd name="connsiteX99" fmla="*/ 1418353 w 5168519"/>
              <a:gd name="connsiteY99" fmla="*/ 651690 h 836961"/>
              <a:gd name="connsiteX100" fmla="*/ 1507928 w 5168519"/>
              <a:gd name="connsiteY100" fmla="*/ 741416 h 836961"/>
              <a:gd name="connsiteX101" fmla="*/ 1263286 w 5168519"/>
              <a:gd name="connsiteY101" fmla="*/ 834666 h 836961"/>
              <a:gd name="connsiteX102" fmla="*/ 950582 w 5168519"/>
              <a:gd name="connsiteY102" fmla="*/ 528151 h 836961"/>
              <a:gd name="connsiteX103" fmla="*/ 1252910 w 5168519"/>
              <a:gd name="connsiteY103" fmla="*/ 227542 h 836961"/>
              <a:gd name="connsiteX104" fmla="*/ 2069749 w 5168519"/>
              <a:gd name="connsiteY104" fmla="*/ 4942 h 836961"/>
              <a:gd name="connsiteX105" fmla="*/ 2210728 w 5168519"/>
              <a:gd name="connsiteY105" fmla="*/ 4942 h 836961"/>
              <a:gd name="connsiteX106" fmla="*/ 2210728 w 5168519"/>
              <a:gd name="connsiteY106" fmla="*/ 819520 h 836961"/>
              <a:gd name="connsiteX107" fmla="*/ 2079268 w 5168519"/>
              <a:gd name="connsiteY107" fmla="*/ 819520 h 836961"/>
              <a:gd name="connsiteX108" fmla="*/ 2069749 w 5168519"/>
              <a:gd name="connsiteY108" fmla="*/ 740272 h 836961"/>
              <a:gd name="connsiteX109" fmla="*/ 1886315 w 5168519"/>
              <a:gd name="connsiteY109" fmla="*/ 832284 h 836961"/>
              <a:gd name="connsiteX110" fmla="*/ 1593220 w 5168519"/>
              <a:gd name="connsiteY110" fmla="*/ 531675 h 836961"/>
              <a:gd name="connsiteX111" fmla="*/ 1882793 w 5168519"/>
              <a:gd name="connsiteY111" fmla="*/ 230970 h 836961"/>
              <a:gd name="connsiteX112" fmla="*/ 2069749 w 5168519"/>
              <a:gd name="connsiteY112" fmla="*/ 323077 h 836961"/>
              <a:gd name="connsiteX113" fmla="*/ 2345423 w 5168519"/>
              <a:gd name="connsiteY113" fmla="*/ 1 h 836961"/>
              <a:gd name="connsiteX114" fmla="*/ 2428525 w 5168519"/>
              <a:gd name="connsiteY114" fmla="*/ 83047 h 836961"/>
              <a:gd name="connsiteX115" fmla="*/ 2262321 w 5168519"/>
              <a:gd name="connsiteY115" fmla="*/ 83047 h 836961"/>
              <a:gd name="connsiteX116" fmla="*/ 2345423 w 5168519"/>
              <a:gd name="connsiteY116" fmla="*/ 1 h 83696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  <a:cxn ang="0">
                <a:pos x="connsiteX67" y="connsiteY67"/>
              </a:cxn>
              <a:cxn ang="0">
                <a:pos x="connsiteX68" y="connsiteY68"/>
              </a:cxn>
              <a:cxn ang="0">
                <a:pos x="connsiteX69" y="connsiteY69"/>
              </a:cxn>
              <a:cxn ang="0">
                <a:pos x="connsiteX70" y="connsiteY70"/>
              </a:cxn>
              <a:cxn ang="0">
                <a:pos x="connsiteX71" y="connsiteY71"/>
              </a:cxn>
              <a:cxn ang="0">
                <a:pos x="connsiteX72" y="connsiteY72"/>
              </a:cxn>
              <a:cxn ang="0">
                <a:pos x="connsiteX73" y="connsiteY73"/>
              </a:cxn>
              <a:cxn ang="0">
                <a:pos x="connsiteX74" y="connsiteY74"/>
              </a:cxn>
              <a:cxn ang="0">
                <a:pos x="connsiteX75" y="connsiteY75"/>
              </a:cxn>
              <a:cxn ang="0">
                <a:pos x="connsiteX76" y="connsiteY76"/>
              </a:cxn>
              <a:cxn ang="0">
                <a:pos x="connsiteX77" y="connsiteY77"/>
              </a:cxn>
              <a:cxn ang="0">
                <a:pos x="connsiteX78" y="connsiteY78"/>
              </a:cxn>
              <a:cxn ang="0">
                <a:pos x="connsiteX79" y="connsiteY79"/>
              </a:cxn>
              <a:cxn ang="0">
                <a:pos x="connsiteX80" y="connsiteY80"/>
              </a:cxn>
              <a:cxn ang="0">
                <a:pos x="connsiteX81" y="connsiteY81"/>
              </a:cxn>
              <a:cxn ang="0">
                <a:pos x="connsiteX82" y="connsiteY82"/>
              </a:cxn>
              <a:cxn ang="0">
                <a:pos x="connsiteX83" y="connsiteY83"/>
              </a:cxn>
              <a:cxn ang="0">
                <a:pos x="connsiteX84" y="connsiteY84"/>
              </a:cxn>
              <a:cxn ang="0">
                <a:pos x="connsiteX85" y="connsiteY85"/>
              </a:cxn>
              <a:cxn ang="0">
                <a:pos x="connsiteX86" y="connsiteY86"/>
              </a:cxn>
              <a:cxn ang="0">
                <a:pos x="connsiteX87" y="connsiteY87"/>
              </a:cxn>
              <a:cxn ang="0">
                <a:pos x="connsiteX88" y="connsiteY88"/>
              </a:cxn>
              <a:cxn ang="0">
                <a:pos x="connsiteX89" y="connsiteY89"/>
              </a:cxn>
              <a:cxn ang="0">
                <a:pos x="connsiteX90" y="connsiteY90"/>
              </a:cxn>
              <a:cxn ang="0">
                <a:pos x="connsiteX91" y="connsiteY91"/>
              </a:cxn>
              <a:cxn ang="0">
                <a:pos x="connsiteX92" y="connsiteY92"/>
              </a:cxn>
              <a:cxn ang="0">
                <a:pos x="connsiteX93" y="connsiteY93"/>
              </a:cxn>
              <a:cxn ang="0">
                <a:pos x="connsiteX94" y="connsiteY94"/>
              </a:cxn>
              <a:cxn ang="0">
                <a:pos x="connsiteX95" y="connsiteY95"/>
              </a:cxn>
              <a:cxn ang="0">
                <a:pos x="connsiteX96" y="connsiteY96"/>
              </a:cxn>
              <a:cxn ang="0">
                <a:pos x="connsiteX97" y="connsiteY97"/>
              </a:cxn>
              <a:cxn ang="0">
                <a:pos x="connsiteX98" y="connsiteY98"/>
              </a:cxn>
              <a:cxn ang="0">
                <a:pos x="connsiteX99" y="connsiteY99"/>
              </a:cxn>
              <a:cxn ang="0">
                <a:pos x="connsiteX100" y="connsiteY100"/>
              </a:cxn>
              <a:cxn ang="0">
                <a:pos x="connsiteX101" y="connsiteY101"/>
              </a:cxn>
              <a:cxn ang="0">
                <a:pos x="connsiteX102" y="connsiteY102"/>
              </a:cxn>
              <a:cxn ang="0">
                <a:pos x="connsiteX103" y="connsiteY103"/>
              </a:cxn>
              <a:cxn ang="0">
                <a:pos x="connsiteX104" y="connsiteY104"/>
              </a:cxn>
              <a:cxn ang="0">
                <a:pos x="connsiteX105" y="connsiteY105"/>
              </a:cxn>
              <a:cxn ang="0">
                <a:pos x="connsiteX106" y="connsiteY106"/>
              </a:cxn>
              <a:cxn ang="0">
                <a:pos x="connsiteX107" y="connsiteY107"/>
              </a:cxn>
              <a:cxn ang="0">
                <a:pos x="connsiteX108" y="connsiteY108"/>
              </a:cxn>
              <a:cxn ang="0">
                <a:pos x="connsiteX109" y="connsiteY109"/>
              </a:cxn>
              <a:cxn ang="0">
                <a:pos x="connsiteX110" y="connsiteY110"/>
              </a:cxn>
              <a:cxn ang="0">
                <a:pos x="connsiteX111" y="connsiteY111"/>
              </a:cxn>
              <a:cxn ang="0">
                <a:pos x="connsiteX112" y="connsiteY112"/>
              </a:cxn>
              <a:cxn ang="0">
                <a:pos x="connsiteX113" y="connsiteY113"/>
              </a:cxn>
              <a:cxn ang="0">
                <a:pos x="connsiteX114" y="connsiteY114"/>
              </a:cxn>
              <a:cxn ang="0">
                <a:pos x="connsiteX115" y="connsiteY115"/>
              </a:cxn>
              <a:cxn ang="0">
                <a:pos x="connsiteX116" y="connsiteY116"/>
              </a:cxn>
            </a:cxnLst>
            <a:rect l="l" t="t" r="r" b="b"/>
            <a:pathLst>
              <a:path w="5168519" h="836961">
                <a:moveTo>
                  <a:pt x="1895453" y="363844"/>
                </a:moveTo>
                <a:cubicBezTo>
                  <a:pt x="1805116" y="363844"/>
                  <a:pt x="1733628" y="427947"/>
                  <a:pt x="1733628" y="531675"/>
                </a:cubicBezTo>
                <a:cubicBezTo>
                  <a:pt x="1733628" y="631877"/>
                  <a:pt x="1805497" y="700648"/>
                  <a:pt x="1895453" y="700648"/>
                </a:cubicBezTo>
                <a:cubicBezTo>
                  <a:pt x="1984362" y="700648"/>
                  <a:pt x="2060515" y="635402"/>
                  <a:pt x="2060515" y="531675"/>
                </a:cubicBezTo>
                <a:cubicBezTo>
                  <a:pt x="2060576" y="529491"/>
                  <a:pt x="2060594" y="527306"/>
                  <a:pt x="2060568" y="525121"/>
                </a:cubicBezTo>
                <a:cubicBezTo>
                  <a:pt x="2059481" y="434963"/>
                  <a:pt x="1985556" y="362756"/>
                  <a:pt x="1895453" y="363844"/>
                </a:cubicBezTo>
                <a:close/>
                <a:moveTo>
                  <a:pt x="3942071" y="362702"/>
                </a:moveTo>
                <a:cubicBezTo>
                  <a:pt x="3840502" y="362702"/>
                  <a:pt x="3787480" y="445378"/>
                  <a:pt x="3787480" y="532818"/>
                </a:cubicBezTo>
                <a:cubicBezTo>
                  <a:pt x="3787480" y="609328"/>
                  <a:pt x="3827201" y="681316"/>
                  <a:pt x="3905939" y="698118"/>
                </a:cubicBezTo>
                <a:lnTo>
                  <a:pt x="3941976" y="701782"/>
                </a:lnTo>
                <a:lnTo>
                  <a:pt x="3941881" y="701792"/>
                </a:lnTo>
                <a:lnTo>
                  <a:pt x="3942071" y="701792"/>
                </a:lnTo>
                <a:lnTo>
                  <a:pt x="3941976" y="701782"/>
                </a:lnTo>
                <a:lnTo>
                  <a:pt x="3978022" y="698067"/>
                </a:lnTo>
                <a:cubicBezTo>
                  <a:pt x="4056797" y="681045"/>
                  <a:pt x="4096662" y="608244"/>
                  <a:pt x="4096662" y="532818"/>
                </a:cubicBezTo>
                <a:cubicBezTo>
                  <a:pt x="4096662" y="446617"/>
                  <a:pt x="4036692" y="362702"/>
                  <a:pt x="3942071" y="362702"/>
                </a:cubicBezTo>
                <a:close/>
                <a:moveTo>
                  <a:pt x="2787112" y="357654"/>
                </a:moveTo>
                <a:cubicBezTo>
                  <a:pt x="2693634" y="357654"/>
                  <a:pt x="2618623" y="421757"/>
                  <a:pt x="2618623" y="531294"/>
                </a:cubicBezTo>
                <a:cubicBezTo>
                  <a:pt x="2618623" y="640832"/>
                  <a:pt x="2693634" y="706078"/>
                  <a:pt x="2787112" y="706078"/>
                </a:cubicBezTo>
                <a:lnTo>
                  <a:pt x="2787112" y="706459"/>
                </a:lnTo>
                <a:cubicBezTo>
                  <a:pt x="3008623" y="706459"/>
                  <a:pt x="3008623" y="358035"/>
                  <a:pt x="2787112" y="357654"/>
                </a:cubicBezTo>
                <a:close/>
                <a:moveTo>
                  <a:pt x="1257575" y="353748"/>
                </a:moveTo>
                <a:cubicBezTo>
                  <a:pt x="1181421" y="353748"/>
                  <a:pt x="1119071" y="391086"/>
                  <a:pt x="1098319" y="465667"/>
                </a:cubicBezTo>
                <a:lnTo>
                  <a:pt x="1405217" y="465667"/>
                </a:lnTo>
                <a:cubicBezTo>
                  <a:pt x="1395983" y="391086"/>
                  <a:pt x="1338297" y="353748"/>
                  <a:pt x="1257575" y="353748"/>
                </a:cubicBezTo>
                <a:close/>
                <a:moveTo>
                  <a:pt x="2275077" y="242687"/>
                </a:moveTo>
                <a:lnTo>
                  <a:pt x="2415770" y="242687"/>
                </a:lnTo>
                <a:lnTo>
                  <a:pt x="2415770" y="819521"/>
                </a:lnTo>
                <a:lnTo>
                  <a:pt x="2275077" y="819521"/>
                </a:lnTo>
                <a:close/>
                <a:moveTo>
                  <a:pt x="4568241" y="234400"/>
                </a:moveTo>
                <a:cubicBezTo>
                  <a:pt x="4636398" y="234400"/>
                  <a:pt x="4704460" y="262403"/>
                  <a:pt x="4736730" y="341651"/>
                </a:cubicBezTo>
                <a:cubicBezTo>
                  <a:pt x="4787562" y="260117"/>
                  <a:pt x="4853340" y="236877"/>
                  <a:pt x="4927113" y="236877"/>
                </a:cubicBezTo>
                <a:cubicBezTo>
                  <a:pt x="5088653" y="236877"/>
                  <a:pt x="5168233" y="337079"/>
                  <a:pt x="5168519" y="509482"/>
                </a:cubicBezTo>
                <a:lnTo>
                  <a:pt x="5168519" y="819140"/>
                </a:lnTo>
                <a:lnTo>
                  <a:pt x="5027826" y="819140"/>
                </a:lnTo>
                <a:lnTo>
                  <a:pt x="5027826" y="509482"/>
                </a:lnTo>
                <a:cubicBezTo>
                  <a:pt x="5027826" y="433758"/>
                  <a:pt x="4996603" y="369655"/>
                  <a:pt x="4920450" y="369655"/>
                </a:cubicBezTo>
                <a:cubicBezTo>
                  <a:pt x="4844296" y="369655"/>
                  <a:pt x="4796701" y="435663"/>
                  <a:pt x="4796701" y="511863"/>
                </a:cubicBezTo>
                <a:lnTo>
                  <a:pt x="4796701" y="819140"/>
                </a:lnTo>
                <a:lnTo>
                  <a:pt x="4656008" y="819140"/>
                </a:lnTo>
                <a:lnTo>
                  <a:pt x="4656008" y="511863"/>
                </a:lnTo>
                <a:cubicBezTo>
                  <a:pt x="4656008" y="436140"/>
                  <a:pt x="4615647" y="367369"/>
                  <a:pt x="4539493" y="367369"/>
                </a:cubicBezTo>
                <a:cubicBezTo>
                  <a:pt x="4463340" y="367369"/>
                  <a:pt x="4418314" y="435663"/>
                  <a:pt x="4418314" y="511863"/>
                </a:cubicBezTo>
                <a:lnTo>
                  <a:pt x="4418314" y="819140"/>
                </a:lnTo>
                <a:lnTo>
                  <a:pt x="4277526" y="819140"/>
                </a:lnTo>
                <a:lnTo>
                  <a:pt x="4277526" y="243734"/>
                </a:lnTo>
                <a:lnTo>
                  <a:pt x="4407939" y="243734"/>
                </a:lnTo>
                <a:lnTo>
                  <a:pt x="4418314" y="313648"/>
                </a:lnTo>
                <a:cubicBezTo>
                  <a:pt x="4448300" y="255355"/>
                  <a:pt x="4514077" y="234400"/>
                  <a:pt x="4568241" y="234400"/>
                </a:cubicBezTo>
                <a:close/>
                <a:moveTo>
                  <a:pt x="290715" y="234400"/>
                </a:moveTo>
                <a:cubicBezTo>
                  <a:pt x="358872" y="234400"/>
                  <a:pt x="426934" y="262403"/>
                  <a:pt x="459204" y="341651"/>
                </a:cubicBezTo>
                <a:cubicBezTo>
                  <a:pt x="510036" y="260117"/>
                  <a:pt x="575718" y="236877"/>
                  <a:pt x="649587" y="236877"/>
                </a:cubicBezTo>
                <a:cubicBezTo>
                  <a:pt x="811127" y="236877"/>
                  <a:pt x="890707" y="337079"/>
                  <a:pt x="890707" y="509482"/>
                </a:cubicBezTo>
                <a:lnTo>
                  <a:pt x="890707" y="819140"/>
                </a:lnTo>
                <a:lnTo>
                  <a:pt x="750300" y="819140"/>
                </a:lnTo>
                <a:lnTo>
                  <a:pt x="750300" y="509482"/>
                </a:lnTo>
                <a:cubicBezTo>
                  <a:pt x="750300" y="433758"/>
                  <a:pt x="719077" y="369655"/>
                  <a:pt x="642924" y="369655"/>
                </a:cubicBezTo>
                <a:cubicBezTo>
                  <a:pt x="566770" y="369655"/>
                  <a:pt x="519175" y="435663"/>
                  <a:pt x="519175" y="511863"/>
                </a:cubicBezTo>
                <a:lnTo>
                  <a:pt x="519175" y="819140"/>
                </a:lnTo>
                <a:lnTo>
                  <a:pt x="378482" y="819140"/>
                </a:lnTo>
                <a:lnTo>
                  <a:pt x="378482" y="511863"/>
                </a:lnTo>
                <a:cubicBezTo>
                  <a:pt x="378482" y="436140"/>
                  <a:pt x="338120" y="367369"/>
                  <a:pt x="261967" y="367369"/>
                </a:cubicBezTo>
                <a:cubicBezTo>
                  <a:pt x="185814" y="367369"/>
                  <a:pt x="140788" y="435663"/>
                  <a:pt x="140788" y="511863"/>
                </a:cubicBezTo>
                <a:lnTo>
                  <a:pt x="140788" y="819140"/>
                </a:lnTo>
                <a:lnTo>
                  <a:pt x="0" y="819140"/>
                </a:lnTo>
                <a:lnTo>
                  <a:pt x="0" y="243830"/>
                </a:lnTo>
                <a:lnTo>
                  <a:pt x="130412" y="243830"/>
                </a:lnTo>
                <a:lnTo>
                  <a:pt x="140788" y="313648"/>
                </a:lnTo>
                <a:cubicBezTo>
                  <a:pt x="170774" y="255355"/>
                  <a:pt x="236551" y="234400"/>
                  <a:pt x="290715" y="234400"/>
                </a:cubicBezTo>
                <a:close/>
                <a:moveTo>
                  <a:pt x="3940929" y="233352"/>
                </a:moveTo>
                <a:cubicBezTo>
                  <a:pt x="4121793" y="233352"/>
                  <a:pt x="4238307" y="367369"/>
                  <a:pt x="4238307" y="532818"/>
                </a:cubicBezTo>
                <a:cubicBezTo>
                  <a:pt x="4238307" y="698267"/>
                  <a:pt x="4126077" y="832284"/>
                  <a:pt x="3941786" y="832284"/>
                </a:cubicBezTo>
                <a:cubicBezTo>
                  <a:pt x="3757495" y="832284"/>
                  <a:pt x="3646692" y="697124"/>
                  <a:pt x="3646692" y="532818"/>
                </a:cubicBezTo>
                <a:cubicBezTo>
                  <a:pt x="3646692" y="368512"/>
                  <a:pt x="3760065" y="233352"/>
                  <a:pt x="3940929" y="233352"/>
                </a:cubicBezTo>
                <a:close/>
                <a:moveTo>
                  <a:pt x="2774737" y="230590"/>
                </a:moveTo>
                <a:cubicBezTo>
                  <a:pt x="2850890" y="230590"/>
                  <a:pt x="2923236" y="266690"/>
                  <a:pt x="2955601" y="323840"/>
                </a:cubicBezTo>
                <a:lnTo>
                  <a:pt x="2960456" y="244973"/>
                </a:lnTo>
                <a:lnTo>
                  <a:pt x="3095152" y="244973"/>
                </a:lnTo>
                <a:lnTo>
                  <a:pt x="3095152" y="819521"/>
                </a:lnTo>
                <a:lnTo>
                  <a:pt x="2962455" y="819521"/>
                </a:lnTo>
                <a:lnTo>
                  <a:pt x="2955601" y="735606"/>
                </a:lnTo>
                <a:cubicBezTo>
                  <a:pt x="2923236" y="803233"/>
                  <a:pt x="2834422" y="835809"/>
                  <a:pt x="2770930" y="836952"/>
                </a:cubicBezTo>
                <a:cubicBezTo>
                  <a:pt x="2602441" y="838095"/>
                  <a:pt x="2477930" y="733224"/>
                  <a:pt x="2477930" y="531675"/>
                </a:cubicBezTo>
                <a:cubicBezTo>
                  <a:pt x="2477930" y="333365"/>
                  <a:pt x="2608247" y="229828"/>
                  <a:pt x="2774737" y="230590"/>
                </a:cubicBezTo>
                <a:close/>
                <a:moveTo>
                  <a:pt x="3437461" y="228685"/>
                </a:moveTo>
                <a:cubicBezTo>
                  <a:pt x="3518184" y="228685"/>
                  <a:pt x="3580534" y="252021"/>
                  <a:pt x="3642885" y="313743"/>
                </a:cubicBezTo>
                <a:lnTo>
                  <a:pt x="3553976" y="408136"/>
                </a:lnTo>
                <a:cubicBezTo>
                  <a:pt x="3522801" y="379414"/>
                  <a:pt x="3482119" y="363233"/>
                  <a:pt x="3439746" y="362702"/>
                </a:cubicBezTo>
                <a:cubicBezTo>
                  <a:pt x="3345126" y="362702"/>
                  <a:pt x="3275921" y="432615"/>
                  <a:pt x="3275921" y="532818"/>
                </a:cubicBezTo>
                <a:cubicBezTo>
                  <a:pt x="3275921" y="642356"/>
                  <a:pt x="3350075" y="700649"/>
                  <a:pt x="3437747" y="700649"/>
                </a:cubicBezTo>
                <a:cubicBezTo>
                  <a:pt x="3483860" y="702191"/>
                  <a:pt x="3528623" y="684935"/>
                  <a:pt x="3561782" y="652833"/>
                </a:cubicBezTo>
                <a:lnTo>
                  <a:pt x="3656402" y="746083"/>
                </a:lnTo>
                <a:cubicBezTo>
                  <a:pt x="3590910" y="811329"/>
                  <a:pt x="3521706" y="836952"/>
                  <a:pt x="3437461" y="836952"/>
                </a:cubicBezTo>
                <a:cubicBezTo>
                  <a:pt x="3272494" y="836952"/>
                  <a:pt x="3135228" y="736748"/>
                  <a:pt x="3135228" y="532818"/>
                </a:cubicBezTo>
                <a:cubicBezTo>
                  <a:pt x="3135228" y="328888"/>
                  <a:pt x="3272494" y="228685"/>
                  <a:pt x="3437461" y="228685"/>
                </a:cubicBezTo>
                <a:close/>
                <a:moveTo>
                  <a:pt x="1252910" y="227542"/>
                </a:moveTo>
                <a:cubicBezTo>
                  <a:pt x="1443293" y="227542"/>
                  <a:pt x="1562188" y="346414"/>
                  <a:pt x="1540198" y="582920"/>
                </a:cubicBezTo>
                <a:lnTo>
                  <a:pt x="1096415" y="582920"/>
                </a:lnTo>
                <a:cubicBezTo>
                  <a:pt x="1105649" y="653976"/>
                  <a:pt x="1166762" y="705316"/>
                  <a:pt x="1266047" y="705316"/>
                </a:cubicBezTo>
                <a:cubicBezTo>
                  <a:pt x="1318021" y="705316"/>
                  <a:pt x="1386083" y="685504"/>
                  <a:pt x="1418353" y="651690"/>
                </a:cubicBezTo>
                <a:lnTo>
                  <a:pt x="1507928" y="741416"/>
                </a:lnTo>
                <a:cubicBezTo>
                  <a:pt x="1447958" y="804376"/>
                  <a:pt x="1349815" y="834666"/>
                  <a:pt x="1263286" y="834666"/>
                </a:cubicBezTo>
                <a:cubicBezTo>
                  <a:pt x="1067192" y="834666"/>
                  <a:pt x="950582" y="712269"/>
                  <a:pt x="950582" y="528151"/>
                </a:cubicBezTo>
                <a:cubicBezTo>
                  <a:pt x="950582" y="353367"/>
                  <a:pt x="1068334" y="227542"/>
                  <a:pt x="1252910" y="227542"/>
                </a:cubicBezTo>
                <a:close/>
                <a:moveTo>
                  <a:pt x="2069749" y="4942"/>
                </a:moveTo>
                <a:lnTo>
                  <a:pt x="2210728" y="4942"/>
                </a:lnTo>
                <a:lnTo>
                  <a:pt x="2210728" y="819520"/>
                </a:lnTo>
                <a:lnTo>
                  <a:pt x="2079268" y="819520"/>
                </a:lnTo>
                <a:lnTo>
                  <a:pt x="2069749" y="740272"/>
                </a:lnTo>
                <a:cubicBezTo>
                  <a:pt x="2025866" y="809043"/>
                  <a:pt x="1955519" y="832284"/>
                  <a:pt x="1886315" y="832284"/>
                </a:cubicBezTo>
                <a:cubicBezTo>
                  <a:pt x="1718968" y="832284"/>
                  <a:pt x="1593220" y="720460"/>
                  <a:pt x="1593220" y="531675"/>
                </a:cubicBezTo>
                <a:cubicBezTo>
                  <a:pt x="1593220" y="333555"/>
                  <a:pt x="1716683" y="230970"/>
                  <a:pt x="1882793" y="230970"/>
                </a:cubicBezTo>
                <a:cubicBezTo>
                  <a:pt x="1942763" y="230970"/>
                  <a:pt x="2036241" y="263641"/>
                  <a:pt x="2069749" y="323077"/>
                </a:cubicBezTo>
                <a:close/>
                <a:moveTo>
                  <a:pt x="2345423" y="1"/>
                </a:moveTo>
                <a:cubicBezTo>
                  <a:pt x="2386974" y="13"/>
                  <a:pt x="2428525" y="27707"/>
                  <a:pt x="2428525" y="83047"/>
                </a:cubicBezTo>
                <a:cubicBezTo>
                  <a:pt x="2428525" y="193728"/>
                  <a:pt x="2262321" y="193728"/>
                  <a:pt x="2262321" y="83047"/>
                </a:cubicBezTo>
                <a:cubicBezTo>
                  <a:pt x="2262321" y="27659"/>
                  <a:pt x="2303872" y="-11"/>
                  <a:pt x="2345423" y="1"/>
                </a:cubicBezTo>
                <a:close/>
              </a:path>
            </a:pathLst>
          </a:custGeom>
          <a:solidFill>
            <a:schemeClr val="bg1"/>
          </a:solidFill>
        </p:spPr>
        <p:txBody>
          <a:bodyPr wrap="square" anchor="ctr">
            <a:noAutofit/>
          </a:bodyPr>
          <a:lstStyle>
            <a:lvl1pPr algn="ctr">
              <a:defRPr sz="100">
                <a:solidFill>
                  <a:schemeClr val="bg1"/>
                </a:solidFill>
              </a:defRPr>
            </a:lvl1pPr>
          </a:lstStyle>
          <a:p>
            <a:pPr lvl="0"/>
            <a:endParaRPr lang="en-GB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E2D879A0-3568-0846-86A6-1F737391F52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609600" y="3548063"/>
            <a:ext cx="5486400" cy="981075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24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Presentation title goes here</a:t>
            </a:r>
          </a:p>
          <a:p>
            <a:pPr lvl="1"/>
            <a:r>
              <a:rPr lang="en-GB"/>
              <a:t>Subtitle // Date here</a:t>
            </a:r>
          </a:p>
        </p:txBody>
      </p:sp>
      <p:sp>
        <p:nvSpPr>
          <p:cNvPr id="5" name="Text Placeholder 10">
            <a:extLst>
              <a:ext uri="{FF2B5EF4-FFF2-40B4-BE49-F238E27FC236}">
                <a16:creationId xmlns:a16="http://schemas.microsoft.com/office/drawing/2014/main" id="{D2C025E0-A506-1143-A09B-93B6849AD5E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09600" y="1895206"/>
            <a:ext cx="5486400" cy="780893"/>
          </a:xfrm>
        </p:spPr>
        <p:txBody>
          <a:bodyPr lIns="0" rIns="0"/>
          <a:lstStyle>
            <a:lvl1pPr>
              <a:lnSpc>
                <a:spcPct val="90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bg1"/>
                </a:solidFill>
              </a:defRPr>
            </a:lvl2pPr>
            <a:lvl3pPr marL="7938" indent="0">
              <a:buNone/>
              <a:defRPr/>
            </a:lvl3pPr>
          </a:lstStyle>
          <a:p>
            <a:pPr lvl="0"/>
            <a:r>
              <a:rPr lang="en-GB"/>
              <a:t>Client Name x</a:t>
            </a:r>
          </a:p>
        </p:txBody>
      </p:sp>
    </p:spTree>
    <p:extLst>
      <p:ext uri="{BB962C8B-B14F-4D97-AF65-F5344CB8AC3E}">
        <p14:creationId xmlns:p14="http://schemas.microsoft.com/office/powerpoint/2010/main" val="605957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47FB4F-4F73-3A47-9E8F-D789ED3F8858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85720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- grey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D4B6153B-2D3D-0544-B433-E222C8CF6DE5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5118659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- 50/5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9">
            <a:extLst>
              <a:ext uri="{FF2B5EF4-FFF2-40B4-BE49-F238E27FC236}">
                <a16:creationId xmlns:a16="http://schemas.microsoft.com/office/drawing/2014/main" id="{476D85D8-44D1-3346-A88C-E1C4318EBD4E}"/>
              </a:ext>
            </a:extLst>
          </p:cNvPr>
          <p:cNvSpPr/>
          <p:nvPr userDrawn="1"/>
        </p:nvSpPr>
        <p:spPr>
          <a:xfrm>
            <a:off x="0" y="0"/>
            <a:ext cx="6096000" cy="64980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197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4" y="6244050"/>
                  <a:pt x="5844000" y="6356874"/>
                  <a:pt x="5844000" y="6496050"/>
                </a:cubicBezTo>
                <a:lnTo>
                  <a:pt x="5844197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304753" cy="119274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5304753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D4B6153B-2D3D-0544-B433-E222C8CF6DE5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587317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1802342"/>
            <a:ext cx="5487666" cy="4446000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156312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image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5477935" cy="119274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8" name="Text Placeholder 3">
            <a:extLst>
              <a:ext uri="{FF2B5EF4-FFF2-40B4-BE49-F238E27FC236}">
                <a16:creationId xmlns:a16="http://schemas.microsoft.com/office/drawing/2014/main" id="{052569D9-CE1C-EC4F-B932-F0ADE6E84BF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095999" y="1802342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BC6EDB3-DD20-244A-A980-6A1FD175B5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095999" y="2466686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2F01659-8CFF-1A43-B4AE-8DD102C457B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5999" y="3131030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7543A65C-73BE-6543-8FD4-911F06EFCCA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095999" y="3795374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4</a:t>
            </a:r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616C2078-9A7F-AA44-B351-57E689A3C22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5999" y="4459718"/>
            <a:ext cx="792480" cy="528398"/>
          </a:xfrm>
        </p:spPr>
        <p:txBody>
          <a:bodyPr tIns="0" bIns="0" anchor="ctr">
            <a:noAutofit/>
          </a:bodyPr>
          <a:lstStyle>
            <a:lvl1pPr algn="r"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5</a:t>
            </a:r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DC7FCC43-6167-0241-8E00-E6CDF85B9C7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69354" y="1802342"/>
            <a:ext cx="4860696" cy="528398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2DFF8DF8-0C9B-8B46-B0B4-2371F11D3103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6969354" y="2466686"/>
            <a:ext cx="4860696" cy="528398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74A9762A-B8E1-2D48-820F-6869A93BB63F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6969353" y="3153100"/>
            <a:ext cx="4860696" cy="528398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D1594578-C69C-4343-8929-33038993FB8E}"/>
              </a:ext>
            </a:extLst>
          </p:cNvPr>
          <p:cNvSpPr>
            <a:spLocks noGrp="1"/>
          </p:cNvSpPr>
          <p:nvPr>
            <p:ph idx="21"/>
          </p:nvPr>
        </p:nvSpPr>
        <p:spPr>
          <a:xfrm>
            <a:off x="6969353" y="3806964"/>
            <a:ext cx="4860696" cy="528398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</p:txBody>
      </p:sp>
      <p:sp>
        <p:nvSpPr>
          <p:cNvPr id="24" name="Content Placeholder 2">
            <a:extLst>
              <a:ext uri="{FF2B5EF4-FFF2-40B4-BE49-F238E27FC236}">
                <a16:creationId xmlns:a16="http://schemas.microsoft.com/office/drawing/2014/main" id="{E5B61243-FB61-9E4D-A5DF-2275F80DD1E7}"/>
              </a:ext>
            </a:extLst>
          </p:cNvPr>
          <p:cNvSpPr>
            <a:spLocks noGrp="1"/>
          </p:cNvSpPr>
          <p:nvPr>
            <p:ph idx="22"/>
          </p:nvPr>
        </p:nvSpPr>
        <p:spPr>
          <a:xfrm>
            <a:off x="6969353" y="4457103"/>
            <a:ext cx="4860696" cy="528398"/>
          </a:xfrm>
        </p:spPr>
        <p:txBody>
          <a:bodyPr anchor="ctr"/>
          <a:lstStyle/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49545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-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47FB4F-4F73-3A47-9E8F-D789ED3F8858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1748774" y="1312299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4FF329-078B-9945-A455-D29E1424E2DC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 rot="10800000">
            <a:off x="10236518" y="5334727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D5E3FC6C-2F1E-FE41-BDBC-E6D440A6021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145000" y="1704600"/>
            <a:ext cx="7902000" cy="3448800"/>
          </a:xfrm>
          <a:solidFill>
            <a:schemeClr val="bg1"/>
          </a:solidFill>
        </p:spPr>
        <p:txBody>
          <a:bodyPr lIns="360000" rIns="5184000" anchor="ctr">
            <a:norm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3200" b="1"/>
            </a:lvl1pPr>
          </a:lstStyle>
          <a:p>
            <a:pPr lvl="0"/>
            <a:r>
              <a:rPr lang="en-GB"/>
              <a:t>Agenda slide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96E59D0-2D90-6947-A2A4-A20F81D6202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5294599" y="1704600"/>
            <a:ext cx="4752402" cy="3448800"/>
          </a:xfrm>
          <a:noFill/>
        </p:spPr>
        <p:txBody>
          <a:bodyPr lIns="90000" rIns="90000" anchor="ctr"/>
          <a:lstStyle>
            <a:lvl1pPr marL="622300" indent="-622300">
              <a:lnSpc>
                <a:spcPct val="80000"/>
              </a:lnSpc>
              <a:spcAft>
                <a:spcPts val="1800"/>
              </a:spcAft>
              <a:buClr>
                <a:schemeClr val="accent4"/>
              </a:buClr>
              <a:buFont typeface="+mj-lt"/>
              <a:buAutoNum type="arabicPeriod"/>
              <a:tabLst/>
              <a:defRPr sz="2400" b="0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431793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statement - ima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47FB4F-4F73-3A47-9E8F-D789ED3F8858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1748774" y="1312299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2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4FF329-078B-9945-A455-D29E1424E2DC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 rot="10800000">
            <a:off x="10236518" y="5334727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9982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/ statement - image w/ box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47FB4F-4F73-3A47-9E8F-D789ED3F8858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1748774" y="1312299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145585" y="1704806"/>
            <a:ext cx="7900830" cy="3448388"/>
          </a:xfrm>
          <a:solidFill>
            <a:schemeClr val="bg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2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AD4FF329-078B-9945-A455-D29E1424E2DC}"/>
              </a:ext>
            </a:extLst>
          </p:cNvPr>
          <p:cNvSpPr>
            <a:spLocks noGrp="1" noChangeAspect="1"/>
          </p:cNvSpPr>
          <p:nvPr>
            <p:ph type="body" sz="quarter" idx="14"/>
          </p:nvPr>
        </p:nvSpPr>
        <p:spPr>
          <a:xfrm rot="10800000">
            <a:off x="10236518" y="5334727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336882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quot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3200" y="1620078"/>
            <a:ext cx="10965600" cy="3617843"/>
          </a:xfrm>
        </p:spPr>
        <p:txBody>
          <a:bodyPr anchor="ctr"/>
          <a:lstStyle>
            <a:lvl1pPr algn="ctr">
              <a:defRPr b="0"/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Graphic 6">
            <a:extLst>
              <a:ext uri="{FF2B5EF4-FFF2-40B4-BE49-F238E27FC236}">
                <a16:creationId xmlns:a16="http://schemas.microsoft.com/office/drawing/2014/main" id="{6AFF0189-2B17-044A-95A5-0CE65C3B7CF9}"/>
              </a:ext>
            </a:extLst>
          </p:cNvPr>
          <p:cNvSpPr/>
          <p:nvPr/>
        </p:nvSpPr>
        <p:spPr>
          <a:xfrm>
            <a:off x="5877609" y="1210876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rgbClr val="3FCBB6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  <p:sp>
        <p:nvSpPr>
          <p:cNvPr id="4" name="Graphic 9">
            <a:extLst>
              <a:ext uri="{FF2B5EF4-FFF2-40B4-BE49-F238E27FC236}">
                <a16:creationId xmlns:a16="http://schemas.microsoft.com/office/drawing/2014/main" id="{8FDACD0F-927F-324F-81B7-9EB5A9A2FA9B}"/>
              </a:ext>
            </a:extLst>
          </p:cNvPr>
          <p:cNvSpPr/>
          <p:nvPr/>
        </p:nvSpPr>
        <p:spPr>
          <a:xfrm>
            <a:off x="5877608" y="5348453"/>
            <a:ext cx="441598" cy="301070"/>
          </a:xfrm>
          <a:custGeom>
            <a:avLst/>
            <a:gdLst>
              <a:gd name="connsiteX0" fmla="*/ 0 w 441598"/>
              <a:gd name="connsiteY0" fmla="*/ 200707 h 301070"/>
              <a:gd name="connsiteX1" fmla="*/ 100363 w 441598"/>
              <a:gd name="connsiteY1" fmla="*/ 301070 h 301070"/>
              <a:gd name="connsiteX2" fmla="*/ 200726 w 441598"/>
              <a:gd name="connsiteY2" fmla="*/ 200707 h 301070"/>
              <a:gd name="connsiteX3" fmla="*/ 102389 w 441598"/>
              <a:gd name="connsiteY3" fmla="*/ 100402 h 301070"/>
              <a:gd name="connsiteX4" fmla="*/ 200726 w 441598"/>
              <a:gd name="connsiteY4" fmla="*/ 60204 h 301070"/>
              <a:gd name="connsiteX5" fmla="*/ 200708 w 441598"/>
              <a:gd name="connsiteY5" fmla="*/ 0 h 301070"/>
              <a:gd name="connsiteX6" fmla="*/ 0 w 441598"/>
              <a:gd name="connsiteY6" fmla="*/ 200707 h 301070"/>
              <a:gd name="connsiteX7" fmla="*/ 441579 w 441598"/>
              <a:gd name="connsiteY7" fmla="*/ 0 h 301070"/>
              <a:gd name="connsiteX8" fmla="*/ 240872 w 441598"/>
              <a:gd name="connsiteY8" fmla="*/ 200707 h 301070"/>
              <a:gd name="connsiteX9" fmla="*/ 341235 w 441598"/>
              <a:gd name="connsiteY9" fmla="*/ 301070 h 301070"/>
              <a:gd name="connsiteX10" fmla="*/ 441598 w 441598"/>
              <a:gd name="connsiteY10" fmla="*/ 200707 h 301070"/>
              <a:gd name="connsiteX11" fmla="*/ 343260 w 441598"/>
              <a:gd name="connsiteY11" fmla="*/ 100402 h 301070"/>
              <a:gd name="connsiteX12" fmla="*/ 441598 w 441598"/>
              <a:gd name="connsiteY12" fmla="*/ 60204 h 3010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41598" h="301070">
                <a:moveTo>
                  <a:pt x="0" y="200707"/>
                </a:moveTo>
                <a:cubicBezTo>
                  <a:pt x="0" y="256130"/>
                  <a:pt x="44923" y="301070"/>
                  <a:pt x="100363" y="301070"/>
                </a:cubicBezTo>
                <a:cubicBezTo>
                  <a:pt x="155786" y="301070"/>
                  <a:pt x="200726" y="256147"/>
                  <a:pt x="200726" y="200707"/>
                </a:cubicBezTo>
                <a:cubicBezTo>
                  <a:pt x="200726" y="145961"/>
                  <a:pt x="156872" y="101486"/>
                  <a:pt x="102389" y="100402"/>
                </a:cubicBezTo>
                <a:cubicBezTo>
                  <a:pt x="127719" y="75559"/>
                  <a:pt x="162424" y="60204"/>
                  <a:pt x="200726" y="60204"/>
                </a:cubicBezTo>
                <a:lnTo>
                  <a:pt x="200708" y="0"/>
                </a:lnTo>
                <a:cubicBezTo>
                  <a:pt x="89862" y="0"/>
                  <a:pt x="0" y="89866"/>
                  <a:pt x="0" y="200707"/>
                </a:cubicBezTo>
                <a:close/>
                <a:moveTo>
                  <a:pt x="441579" y="0"/>
                </a:moveTo>
                <a:cubicBezTo>
                  <a:pt x="330733" y="0"/>
                  <a:pt x="240872" y="89866"/>
                  <a:pt x="240872" y="200707"/>
                </a:cubicBezTo>
                <a:cubicBezTo>
                  <a:pt x="240872" y="256130"/>
                  <a:pt x="285813" y="301070"/>
                  <a:pt x="341235" y="301070"/>
                </a:cubicBezTo>
                <a:cubicBezTo>
                  <a:pt x="396656" y="301070"/>
                  <a:pt x="441598" y="256147"/>
                  <a:pt x="441598" y="200707"/>
                </a:cubicBezTo>
                <a:cubicBezTo>
                  <a:pt x="441598" y="145961"/>
                  <a:pt x="397744" y="101486"/>
                  <a:pt x="343260" y="100402"/>
                </a:cubicBezTo>
                <a:cubicBezTo>
                  <a:pt x="368590" y="75559"/>
                  <a:pt x="403315" y="60204"/>
                  <a:pt x="441598" y="60204"/>
                </a:cubicBezTo>
                <a:close/>
              </a:path>
            </a:pathLst>
          </a:custGeom>
          <a:solidFill>
            <a:srgbClr val="3FCBB6"/>
          </a:solidFill>
          <a:ln w="4763" cap="flat">
            <a:noFill/>
            <a:prstDash val="solid"/>
            <a:miter/>
          </a:ln>
        </p:spPr>
        <p:txBody>
          <a:bodyPr rtlCol="0" anchor="ctr"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481333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2" name="Text Placeholder 81">
            <a:extLst>
              <a:ext uri="{FF2B5EF4-FFF2-40B4-BE49-F238E27FC236}">
                <a16:creationId xmlns:a16="http://schemas.microsoft.com/office/drawing/2014/main" id="{D798BC00-B01A-E343-A0B1-922D76DDE8A7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460240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5" name="Picture Placeholder 84">
            <a:extLst>
              <a:ext uri="{FF2B5EF4-FFF2-40B4-BE49-F238E27FC236}">
                <a16:creationId xmlns:a16="http://schemas.microsoft.com/office/drawing/2014/main" id="{0F7F3397-EEED-EA47-A2AD-81D57E9F24D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525877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9" name="Text Placeholder 108">
            <a:extLst>
              <a:ext uri="{FF2B5EF4-FFF2-40B4-BE49-F238E27FC236}">
                <a16:creationId xmlns:a16="http://schemas.microsoft.com/office/drawing/2014/main" id="{C166AB35-C896-6742-85BF-C7F48781682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76346" y="2694576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8" name="Text Placeholder 81">
            <a:extLst>
              <a:ext uri="{FF2B5EF4-FFF2-40B4-BE49-F238E27FC236}">
                <a16:creationId xmlns:a16="http://schemas.microsoft.com/office/drawing/2014/main" id="{1CED5A16-B463-314C-B456-97E3336C23D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894459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89" name="Picture Placeholder 84">
            <a:extLst>
              <a:ext uri="{FF2B5EF4-FFF2-40B4-BE49-F238E27FC236}">
                <a16:creationId xmlns:a16="http://schemas.microsoft.com/office/drawing/2014/main" id="{D1A6172D-643F-094E-B2AC-827DA7595FE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960096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1" name="Text Placeholder 81">
            <a:extLst>
              <a:ext uri="{FF2B5EF4-FFF2-40B4-BE49-F238E27FC236}">
                <a16:creationId xmlns:a16="http://schemas.microsoft.com/office/drawing/2014/main" id="{FD32CB0F-A61C-DE43-80D0-CC8EB9F2B95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05135" y="2880677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2" name="Picture Placeholder 84">
            <a:extLst>
              <a:ext uri="{FF2B5EF4-FFF2-40B4-BE49-F238E27FC236}">
                <a16:creationId xmlns:a16="http://schemas.microsoft.com/office/drawing/2014/main" id="{C6A2E891-2A97-0549-B77E-A7A24D145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9370772" y="935943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94" name="Text Placeholder 81">
            <a:extLst>
              <a:ext uri="{FF2B5EF4-FFF2-40B4-BE49-F238E27FC236}">
                <a16:creationId xmlns:a16="http://schemas.microsoft.com/office/drawing/2014/main" id="{6DC82DE1-2EEB-5040-8A65-5E18D5B61A5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840620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5" name="Picture Placeholder 84">
            <a:extLst>
              <a:ext uri="{FF2B5EF4-FFF2-40B4-BE49-F238E27FC236}">
                <a16:creationId xmlns:a16="http://schemas.microsoft.com/office/drawing/2014/main" id="{9864672D-59E2-1E4F-A74F-43D30EE2EFE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906257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0" name="Text Placeholder 109">
            <a:extLst>
              <a:ext uri="{FF2B5EF4-FFF2-40B4-BE49-F238E27FC236}">
                <a16:creationId xmlns:a16="http://schemas.microsoft.com/office/drawing/2014/main" id="{DA3E9A29-365D-264C-AEDD-684F94EFF27F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856726" y="5304217"/>
            <a:ext cx="6987385" cy="193040"/>
          </a:xfrm>
          <a:custGeom>
            <a:avLst/>
            <a:gdLst>
              <a:gd name="connsiteX0" fmla="*/ 4893155 w 6987385"/>
              <a:gd name="connsiteY0" fmla="*/ 0 h 193040"/>
              <a:gd name="connsiteX1" fmla="*/ 6987385 w 6987385"/>
              <a:gd name="connsiteY1" fmla="*/ 0 h 193040"/>
              <a:gd name="connsiteX2" fmla="*/ 6939125 w 6987385"/>
              <a:gd name="connsiteY2" fmla="*/ 193040 h 193040"/>
              <a:gd name="connsiteX3" fmla="*/ 4844895 w 6987385"/>
              <a:gd name="connsiteY3" fmla="*/ 193040 h 193040"/>
              <a:gd name="connsiteX4" fmla="*/ 2482479 w 6987385"/>
              <a:gd name="connsiteY4" fmla="*/ 0 h 193040"/>
              <a:gd name="connsiteX5" fmla="*/ 4576709 w 6987385"/>
              <a:gd name="connsiteY5" fmla="*/ 0 h 193040"/>
              <a:gd name="connsiteX6" fmla="*/ 4528449 w 6987385"/>
              <a:gd name="connsiteY6" fmla="*/ 193040 h 193040"/>
              <a:gd name="connsiteX7" fmla="*/ 2434219 w 6987385"/>
              <a:gd name="connsiteY7" fmla="*/ 193040 h 193040"/>
              <a:gd name="connsiteX8" fmla="*/ 48260 w 6987385"/>
              <a:gd name="connsiteY8" fmla="*/ 0 h 193040"/>
              <a:gd name="connsiteX9" fmla="*/ 2142490 w 6987385"/>
              <a:gd name="connsiteY9" fmla="*/ 0 h 193040"/>
              <a:gd name="connsiteX10" fmla="*/ 2094230 w 6987385"/>
              <a:gd name="connsiteY10" fmla="*/ 193040 h 193040"/>
              <a:gd name="connsiteX11" fmla="*/ 0 w 6987385"/>
              <a:gd name="connsiteY11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6987385" h="193040">
                <a:moveTo>
                  <a:pt x="4893155" y="0"/>
                </a:moveTo>
                <a:lnTo>
                  <a:pt x="6987385" y="0"/>
                </a:lnTo>
                <a:lnTo>
                  <a:pt x="6939125" y="193040"/>
                </a:lnTo>
                <a:lnTo>
                  <a:pt x="4844895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 flip="none" rotWithShape="1"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  <a:tileRect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97" name="Text Placeholder 81">
            <a:extLst>
              <a:ext uri="{FF2B5EF4-FFF2-40B4-BE49-F238E27FC236}">
                <a16:creationId xmlns:a16="http://schemas.microsoft.com/office/drawing/2014/main" id="{2F2F7D6C-5B5A-114D-8F3F-DA9C47FEC26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6274839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98" name="Picture Placeholder 84">
            <a:extLst>
              <a:ext uri="{FF2B5EF4-FFF2-40B4-BE49-F238E27FC236}">
                <a16:creationId xmlns:a16="http://schemas.microsoft.com/office/drawing/2014/main" id="{F41B96F4-97F1-6448-A093-4383407B9629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6340476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00" name="Text Placeholder 81">
            <a:extLst>
              <a:ext uri="{FF2B5EF4-FFF2-40B4-BE49-F238E27FC236}">
                <a16:creationId xmlns:a16="http://schemas.microsoft.com/office/drawing/2014/main" id="{8C4E34AE-B57E-B541-8BD7-7CE5CA6D072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85515" y="5490318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>
                <a:solidFill>
                  <a:schemeClr val="bg1"/>
                </a:solidFill>
              </a:defRPr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1" name="Picture Placeholder 84">
            <a:extLst>
              <a:ext uri="{FF2B5EF4-FFF2-40B4-BE49-F238E27FC236}">
                <a16:creationId xmlns:a16="http://schemas.microsoft.com/office/drawing/2014/main" id="{7178C4D6-340E-FB4C-B20B-E218AAA6C0C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8751152" y="354558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0"/>
            <a:ext cx="3120815" cy="6502400"/>
          </a:xfrm>
        </p:spPr>
        <p:txBody>
          <a:bodyPr anchor="ctr"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GB"/>
              <a:t>Who’s in the room?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3" name="Text Placeholder 81">
            <a:extLst>
              <a:ext uri="{FF2B5EF4-FFF2-40B4-BE49-F238E27FC236}">
                <a16:creationId xmlns:a16="http://schemas.microsoft.com/office/drawing/2014/main" id="{7E0D0B2A-74C6-F544-B979-122FB08EAB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-2844492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0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4" name="Picture Placeholder 84">
            <a:extLst>
              <a:ext uri="{FF2B5EF4-FFF2-40B4-BE49-F238E27FC236}">
                <a16:creationId xmlns:a16="http://schemas.microsoft.com/office/drawing/2014/main" id="{D0DB8D45-0BA0-7C45-AF18-2BF1AF60CCD8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-2778855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06" name="Text Placeholder 81">
            <a:extLst>
              <a:ext uri="{FF2B5EF4-FFF2-40B4-BE49-F238E27FC236}">
                <a16:creationId xmlns:a16="http://schemas.microsoft.com/office/drawing/2014/main" id="{F19C58E5-3706-D849-B1FB-D04CCCFC09E9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-41027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07" name="Picture Placeholder 84">
            <a:extLst>
              <a:ext uri="{FF2B5EF4-FFF2-40B4-BE49-F238E27FC236}">
                <a16:creationId xmlns:a16="http://schemas.microsoft.com/office/drawing/2014/main" id="{DE1FF348-F469-484B-821E-0676CD8FC528}"/>
              </a:ext>
            </a:extLst>
          </p:cNvPr>
          <p:cNvSpPr>
            <a:spLocks noGrp="1"/>
          </p:cNvSpPr>
          <p:nvPr>
            <p:ph type="pic" sz="quarter" idx="35"/>
          </p:nvPr>
        </p:nvSpPr>
        <p:spPr>
          <a:xfrm>
            <a:off x="-34463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11" name="Text Placeholder 81">
            <a:extLst>
              <a:ext uri="{FF2B5EF4-FFF2-40B4-BE49-F238E27FC236}">
                <a16:creationId xmlns:a16="http://schemas.microsoft.com/office/drawing/2014/main" id="{76303C0A-F9BB-C94D-8821-CF7DC825DF8B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2005444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2" name="Picture Placeholder 84">
            <a:extLst>
              <a:ext uri="{FF2B5EF4-FFF2-40B4-BE49-F238E27FC236}">
                <a16:creationId xmlns:a16="http://schemas.microsoft.com/office/drawing/2014/main" id="{6E301ED4-7195-8946-8990-DA94FE5C8898}"/>
              </a:ext>
            </a:extLst>
          </p:cNvPr>
          <p:cNvSpPr>
            <a:spLocks noGrp="1"/>
          </p:cNvSpPr>
          <p:nvPr>
            <p:ph type="pic" sz="quarter" idx="38"/>
          </p:nvPr>
        </p:nvSpPr>
        <p:spPr>
          <a:xfrm>
            <a:off x="2071081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14" name="Text Placeholder 81">
            <a:extLst>
              <a:ext uri="{FF2B5EF4-FFF2-40B4-BE49-F238E27FC236}">
                <a16:creationId xmlns:a16="http://schemas.microsoft.com/office/drawing/2014/main" id="{F283A561-8613-8D48-8F20-EF710CB0BFD0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4439663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5" name="Picture Placeholder 84">
            <a:extLst>
              <a:ext uri="{FF2B5EF4-FFF2-40B4-BE49-F238E27FC236}">
                <a16:creationId xmlns:a16="http://schemas.microsoft.com/office/drawing/2014/main" id="{E0462B2D-83BE-2742-B468-05908CC2B4C0}"/>
              </a:ext>
            </a:extLst>
          </p:cNvPr>
          <p:cNvSpPr>
            <a:spLocks noGrp="1"/>
          </p:cNvSpPr>
          <p:nvPr>
            <p:ph type="pic" sz="quarter" idx="41"/>
          </p:nvPr>
        </p:nvSpPr>
        <p:spPr>
          <a:xfrm>
            <a:off x="4505300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30" name="Text Placeholder 129">
            <a:extLst>
              <a:ext uri="{FF2B5EF4-FFF2-40B4-BE49-F238E27FC236}">
                <a16:creationId xmlns:a16="http://schemas.microsoft.com/office/drawing/2014/main" id="{50B106BD-3822-2A4D-B695-9372E8B077F2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-2828386" y="-1149071"/>
            <a:ext cx="9426645" cy="193040"/>
          </a:xfrm>
          <a:custGeom>
            <a:avLst/>
            <a:gdLst>
              <a:gd name="connsiteX0" fmla="*/ 7332415 w 9426645"/>
              <a:gd name="connsiteY0" fmla="*/ 0 h 193040"/>
              <a:gd name="connsiteX1" fmla="*/ 9426645 w 9426645"/>
              <a:gd name="connsiteY1" fmla="*/ 0 h 193040"/>
              <a:gd name="connsiteX2" fmla="*/ 9378385 w 9426645"/>
              <a:gd name="connsiteY2" fmla="*/ 193040 h 193040"/>
              <a:gd name="connsiteX3" fmla="*/ 7284155 w 9426645"/>
              <a:gd name="connsiteY3" fmla="*/ 193040 h 193040"/>
              <a:gd name="connsiteX4" fmla="*/ 4898196 w 9426645"/>
              <a:gd name="connsiteY4" fmla="*/ 0 h 193040"/>
              <a:gd name="connsiteX5" fmla="*/ 6992426 w 9426645"/>
              <a:gd name="connsiteY5" fmla="*/ 0 h 193040"/>
              <a:gd name="connsiteX6" fmla="*/ 6944166 w 9426645"/>
              <a:gd name="connsiteY6" fmla="*/ 193040 h 193040"/>
              <a:gd name="connsiteX7" fmla="*/ 4849936 w 9426645"/>
              <a:gd name="connsiteY7" fmla="*/ 193040 h 193040"/>
              <a:gd name="connsiteX8" fmla="*/ 2482479 w 9426645"/>
              <a:gd name="connsiteY8" fmla="*/ 0 h 193040"/>
              <a:gd name="connsiteX9" fmla="*/ 4576709 w 9426645"/>
              <a:gd name="connsiteY9" fmla="*/ 0 h 193040"/>
              <a:gd name="connsiteX10" fmla="*/ 4528449 w 9426645"/>
              <a:gd name="connsiteY10" fmla="*/ 193040 h 193040"/>
              <a:gd name="connsiteX11" fmla="*/ 2434219 w 9426645"/>
              <a:gd name="connsiteY11" fmla="*/ 193040 h 193040"/>
              <a:gd name="connsiteX12" fmla="*/ 48260 w 9426645"/>
              <a:gd name="connsiteY12" fmla="*/ 0 h 193040"/>
              <a:gd name="connsiteX13" fmla="*/ 2142490 w 9426645"/>
              <a:gd name="connsiteY13" fmla="*/ 0 h 193040"/>
              <a:gd name="connsiteX14" fmla="*/ 2094230 w 9426645"/>
              <a:gd name="connsiteY14" fmla="*/ 193040 h 193040"/>
              <a:gd name="connsiteX15" fmla="*/ 0 w 9426645"/>
              <a:gd name="connsiteY15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9426645" h="193040">
                <a:moveTo>
                  <a:pt x="7332415" y="0"/>
                </a:moveTo>
                <a:lnTo>
                  <a:pt x="9426645" y="0"/>
                </a:lnTo>
                <a:lnTo>
                  <a:pt x="9378385" y="193040"/>
                </a:lnTo>
                <a:lnTo>
                  <a:pt x="7284155" y="193040"/>
                </a:lnTo>
                <a:close/>
                <a:moveTo>
                  <a:pt x="4898196" y="0"/>
                </a:moveTo>
                <a:lnTo>
                  <a:pt x="6992426" y="0"/>
                </a:lnTo>
                <a:lnTo>
                  <a:pt x="6944166" y="193040"/>
                </a:lnTo>
                <a:lnTo>
                  <a:pt x="4849936" y="193040"/>
                </a:lnTo>
                <a:close/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17" name="Text Placeholder 81">
            <a:extLst>
              <a:ext uri="{FF2B5EF4-FFF2-40B4-BE49-F238E27FC236}">
                <a16:creationId xmlns:a16="http://schemas.microsoft.com/office/drawing/2014/main" id="{3449C71E-0385-3546-96E4-0733A896EC9D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7637100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18" name="Picture Placeholder 84">
            <a:extLst>
              <a:ext uri="{FF2B5EF4-FFF2-40B4-BE49-F238E27FC236}">
                <a16:creationId xmlns:a16="http://schemas.microsoft.com/office/drawing/2014/main" id="{028147C7-EA5C-5948-B47C-5BDE1CFD9589}"/>
              </a:ext>
            </a:extLst>
          </p:cNvPr>
          <p:cNvSpPr>
            <a:spLocks noGrp="1"/>
          </p:cNvSpPr>
          <p:nvPr>
            <p:ph type="pic" sz="quarter" idx="44"/>
          </p:nvPr>
        </p:nvSpPr>
        <p:spPr>
          <a:xfrm>
            <a:off x="7702737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algn="ctr">
              <a:lnSpc>
                <a:spcPct val="100000"/>
              </a:lnSpc>
              <a:defRPr/>
            </a:lvl1pPr>
          </a:lstStyle>
          <a:p>
            <a:endParaRPr lang="en-US"/>
          </a:p>
        </p:txBody>
      </p:sp>
      <p:sp>
        <p:nvSpPr>
          <p:cNvPr id="120" name="Text Placeholder 81">
            <a:extLst>
              <a:ext uri="{FF2B5EF4-FFF2-40B4-BE49-F238E27FC236}">
                <a16:creationId xmlns:a16="http://schemas.microsoft.com/office/drawing/2014/main" id="{F57E074B-A28E-DD4E-B544-FEA023E9249E}"/>
              </a:ext>
            </a:extLst>
          </p:cNvPr>
          <p:cNvSpPr>
            <a:spLocks noGrp="1"/>
          </p:cNvSpPr>
          <p:nvPr>
            <p:ph type="body" sz="quarter" idx="46" hasCustomPrompt="1"/>
          </p:nvPr>
        </p:nvSpPr>
        <p:spPr>
          <a:xfrm>
            <a:off x="10071319" y="-962970"/>
            <a:ext cx="2123440" cy="578485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defRPr sz="1400"/>
            </a:lvl1pPr>
          </a:lstStyle>
          <a:p>
            <a:r>
              <a:rPr lang="en-US" sz="1600" b="1"/>
              <a:t>Name</a:t>
            </a:r>
            <a:br>
              <a:rPr lang="en-US" sz="1600" b="1"/>
            </a:br>
            <a:r>
              <a:rPr lang="en-US" sz="1600" b="0"/>
              <a:t>Job Title</a:t>
            </a:r>
            <a:endParaRPr lang="en-US" sz="1600"/>
          </a:p>
        </p:txBody>
      </p:sp>
      <p:sp>
        <p:nvSpPr>
          <p:cNvPr id="121" name="Picture Placeholder 84">
            <a:extLst>
              <a:ext uri="{FF2B5EF4-FFF2-40B4-BE49-F238E27FC236}">
                <a16:creationId xmlns:a16="http://schemas.microsoft.com/office/drawing/2014/main" id="{2BC78A02-BEEC-7A45-905E-15B201C46999}"/>
              </a:ext>
            </a:extLst>
          </p:cNvPr>
          <p:cNvSpPr>
            <a:spLocks noGrp="1"/>
          </p:cNvSpPr>
          <p:nvPr>
            <p:ph type="pic" sz="quarter" idx="47"/>
          </p:nvPr>
        </p:nvSpPr>
        <p:spPr>
          <a:xfrm>
            <a:off x="10136956" y="-2907704"/>
            <a:ext cx="2529522" cy="1758058"/>
          </a:xfrm>
          <a:prstGeom prst="parallelogram">
            <a:avLst/>
          </a:prstGeom>
          <a:solidFill>
            <a:schemeClr val="accent5">
              <a:lumMod val="90000"/>
            </a:schemeClr>
          </a:solidFill>
        </p:spPr>
        <p:txBody>
          <a:bodyPr anchor="ctr"/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20000"/>
              </a:lnSpc>
              <a:spcBef>
                <a:spcPts val="0"/>
              </a:spcBef>
              <a:spcAft>
                <a:spcPts val="12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lang="en-US"/>
          </a:p>
        </p:txBody>
      </p:sp>
      <p:sp>
        <p:nvSpPr>
          <p:cNvPr id="129" name="Text Placeholder 128">
            <a:extLst>
              <a:ext uri="{FF2B5EF4-FFF2-40B4-BE49-F238E27FC236}">
                <a16:creationId xmlns:a16="http://schemas.microsoft.com/office/drawing/2014/main" id="{5AD38A9A-5E25-024C-A999-557AA4DC5988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7653206" y="-1149071"/>
            <a:ext cx="4576709" cy="193040"/>
          </a:xfrm>
          <a:custGeom>
            <a:avLst/>
            <a:gdLst>
              <a:gd name="connsiteX0" fmla="*/ 2482479 w 4576709"/>
              <a:gd name="connsiteY0" fmla="*/ 0 h 193040"/>
              <a:gd name="connsiteX1" fmla="*/ 4576709 w 4576709"/>
              <a:gd name="connsiteY1" fmla="*/ 0 h 193040"/>
              <a:gd name="connsiteX2" fmla="*/ 4528449 w 4576709"/>
              <a:gd name="connsiteY2" fmla="*/ 193040 h 193040"/>
              <a:gd name="connsiteX3" fmla="*/ 2434219 w 4576709"/>
              <a:gd name="connsiteY3" fmla="*/ 193040 h 193040"/>
              <a:gd name="connsiteX4" fmla="*/ 48260 w 4576709"/>
              <a:gd name="connsiteY4" fmla="*/ 0 h 193040"/>
              <a:gd name="connsiteX5" fmla="*/ 2142490 w 4576709"/>
              <a:gd name="connsiteY5" fmla="*/ 0 h 193040"/>
              <a:gd name="connsiteX6" fmla="*/ 2094230 w 4576709"/>
              <a:gd name="connsiteY6" fmla="*/ 193040 h 193040"/>
              <a:gd name="connsiteX7" fmla="*/ 0 w 4576709"/>
              <a:gd name="connsiteY7" fmla="*/ 193040 h 19304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4576709" h="193040">
                <a:moveTo>
                  <a:pt x="2482479" y="0"/>
                </a:moveTo>
                <a:lnTo>
                  <a:pt x="4576709" y="0"/>
                </a:lnTo>
                <a:lnTo>
                  <a:pt x="4528449" y="193040"/>
                </a:lnTo>
                <a:lnTo>
                  <a:pt x="2434219" y="193040"/>
                </a:lnTo>
                <a:close/>
                <a:moveTo>
                  <a:pt x="48260" y="0"/>
                </a:moveTo>
                <a:lnTo>
                  <a:pt x="2142490" y="0"/>
                </a:lnTo>
                <a:lnTo>
                  <a:pt x="2094230" y="193040"/>
                </a:lnTo>
                <a:lnTo>
                  <a:pt x="0" y="193040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>
            <a:noAutofit/>
          </a:bodyPr>
          <a:lstStyle>
            <a:lvl1pPr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196473027"/>
      </p:ext>
    </p:extLst>
  </p:cSld>
  <p:clrMapOvr>
    <a:masterClrMapping/>
  </p:clrMapOvr>
</p:sldLayout>
</file>

<file path=ppt/slideLayouts/slideLayout3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43615974-19A0-8642-96FB-52F09E3AFCA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11582401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11582401 w 12192000"/>
              <a:gd name="connsiteY3" fmla="*/ 6498000 h 6498000"/>
              <a:gd name="connsiteX4" fmla="*/ 0 w 12192000"/>
              <a:gd name="connsiteY4" fmla="*/ 0 h 6498000"/>
              <a:gd name="connsiteX5" fmla="*/ 6096001 w 12192000"/>
              <a:gd name="connsiteY5" fmla="*/ 0 h 6498000"/>
              <a:gd name="connsiteX6" fmla="*/ 6096001 w 12192000"/>
              <a:gd name="connsiteY6" fmla="*/ 6244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2192000" h="6498000">
                <a:moveTo>
                  <a:pt x="11582401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11582401" y="6498000"/>
                </a:lnTo>
                <a:close/>
                <a:moveTo>
                  <a:pt x="0" y="0"/>
                </a:moveTo>
                <a:lnTo>
                  <a:pt x="6096001" y="0"/>
                </a:lnTo>
                <a:lnTo>
                  <a:pt x="6096001" y="624405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EB781921-067E-D84A-964D-D16F6D724D9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293766" y="0"/>
            <a:ext cx="6116546" cy="3249000"/>
          </a:xfrm>
        </p:spPr>
        <p:txBody>
          <a:bodyPr tIns="0" bIns="0" anchor="b">
            <a:noAutofit/>
          </a:bodyPr>
          <a:lstStyle>
            <a:lvl1pPr>
              <a:defRPr sz="20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5892ADA3-681B-4848-8013-ACCCDEB5DEB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557963" y="3081200"/>
            <a:ext cx="4852349" cy="3169219"/>
          </a:xfrm>
        </p:spPr>
        <p:txBody>
          <a:bodyPr>
            <a:noAutofit/>
          </a:bodyPr>
          <a:lstStyle>
            <a:lvl1pPr>
              <a:lnSpc>
                <a:spcPts val="6000"/>
              </a:lnSpc>
              <a:spcAft>
                <a:spcPts val="0"/>
              </a:spcAft>
              <a:defRPr sz="6000" b="1"/>
            </a:lvl1pPr>
          </a:lstStyle>
          <a:p>
            <a:pPr lvl="0"/>
            <a:r>
              <a:rPr lang="en-GB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53941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lide divider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A072DD46-3F51-A748-8F94-B6F9001382B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-1878904" y="-362"/>
            <a:ext cx="7974904" cy="6497638"/>
          </a:xfrm>
        </p:spPr>
        <p:txBody>
          <a:bodyPr wrap="none" anchor="ctr">
            <a:noAutofit/>
          </a:bodyPr>
          <a:lstStyle>
            <a:lvl1pPr>
              <a:lnSpc>
                <a:spcPct val="100000"/>
              </a:lnSpc>
              <a:spcAft>
                <a:spcPts val="0"/>
              </a:spcAft>
              <a:defRPr sz="50000" b="1" spc="-3000" baseline="0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B954E8F8-3509-FA4A-84BE-D7B63C4C46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16257" y="609600"/>
            <a:ext cx="6762967" cy="5635625"/>
          </a:xfrm>
        </p:spPr>
        <p:txBody>
          <a:bodyPr anchor="ctr"/>
          <a:lstStyle>
            <a:lvl1pPr>
              <a:lnSpc>
                <a:spcPts val="6000"/>
              </a:lnSpc>
              <a:spcAft>
                <a:spcPts val="0"/>
              </a:spcAft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lide title goes here</a:t>
            </a:r>
          </a:p>
        </p:txBody>
      </p:sp>
    </p:spTree>
    <p:extLst>
      <p:ext uri="{BB962C8B-B14F-4D97-AF65-F5344CB8AC3E}">
        <p14:creationId xmlns:p14="http://schemas.microsoft.com/office/powerpoint/2010/main" val="5082271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lef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reeform 16">
            <a:extLst>
              <a:ext uri="{FF2B5EF4-FFF2-40B4-BE49-F238E27FC236}">
                <a16:creationId xmlns:a16="http://schemas.microsoft.com/office/drawing/2014/main" id="{7B3EDD58-5FA3-6140-B17B-40F7C1CD1135}"/>
              </a:ext>
            </a:extLst>
          </p:cNvPr>
          <p:cNvSpPr/>
          <p:nvPr userDrawn="1"/>
        </p:nvSpPr>
        <p:spPr>
          <a:xfrm>
            <a:off x="609600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74878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lef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12">
            <a:extLst>
              <a:ext uri="{FF2B5EF4-FFF2-40B4-BE49-F238E27FC236}">
                <a16:creationId xmlns:a16="http://schemas.microsoft.com/office/drawing/2014/main" id="{B458B8BC-0C6F-BA4E-BBD7-C13C2911268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6096000" cy="6501600"/>
          </a:xfrm>
          <a:custGeom>
            <a:avLst/>
            <a:gdLst>
              <a:gd name="connsiteX0" fmla="*/ 0 w 6096000"/>
              <a:gd name="connsiteY0" fmla="*/ 0 h 6498000"/>
              <a:gd name="connsiteX1" fmla="*/ 6096000 w 6096000"/>
              <a:gd name="connsiteY1" fmla="*/ 0 h 6498000"/>
              <a:gd name="connsiteX2" fmla="*/ 6096000 w 6096000"/>
              <a:gd name="connsiteY2" fmla="*/ 6244050 h 6498000"/>
              <a:gd name="connsiteX3" fmla="*/ 5844000 w 6096000"/>
              <a:gd name="connsiteY3" fmla="*/ 6496050 h 6498000"/>
              <a:gd name="connsiteX4" fmla="*/ 5844394 w 6096000"/>
              <a:gd name="connsiteY4" fmla="*/ 6498000 h 6498000"/>
              <a:gd name="connsiteX5" fmla="*/ 0 w 6096000"/>
              <a:gd name="connsiteY5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6096000" h="649800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437168" y="609600"/>
            <a:ext cx="5392882" cy="5638742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32163BD-71D9-E440-8A6E-95C8EB751FB7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DCE9AE3-C6C6-E54C-8688-ACA184A30F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 rIns="216000"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5190262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right - Do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74D4A870-F17A-F442-8E79-D6593E5CEED2}"/>
              </a:ext>
            </a:extLst>
          </p:cNvPr>
          <p:cNvSpPr/>
          <p:nvPr userDrawn="1"/>
        </p:nvSpPr>
        <p:spPr>
          <a:xfrm flipH="1">
            <a:off x="0" y="0"/>
            <a:ext cx="6098400" cy="650160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496050 h 6496050"/>
              <a:gd name="connsiteX3" fmla="*/ 252000 w 6096000"/>
              <a:gd name="connsiteY3" fmla="*/ 6496050 h 6496050"/>
              <a:gd name="connsiteX4" fmla="*/ 0 w 6096000"/>
              <a:gd name="connsiteY4" fmla="*/ 6244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496050"/>
                </a:lnTo>
                <a:lnTo>
                  <a:pt x="252000" y="6496050"/>
                </a:lnTo>
                <a:cubicBezTo>
                  <a:pt x="252000" y="6356874"/>
                  <a:pt x="139176" y="6244050"/>
                  <a:pt x="0" y="6244050"/>
                </a:cubicBez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89416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righ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E3EE54FD-7835-9C4B-81DD-D042B6D9FA9A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501600"/>
          </a:xfrm>
          <a:custGeom>
            <a:avLst/>
            <a:gdLst>
              <a:gd name="connsiteX0" fmla="*/ 0 w 6096000"/>
              <a:gd name="connsiteY0" fmla="*/ 0 h 6501600"/>
              <a:gd name="connsiteX1" fmla="*/ 6096000 w 6096000"/>
              <a:gd name="connsiteY1" fmla="*/ 0 h 6501600"/>
              <a:gd name="connsiteX2" fmla="*/ 6096000 w 6096000"/>
              <a:gd name="connsiteY2" fmla="*/ 6501600 h 6501600"/>
              <a:gd name="connsiteX3" fmla="*/ 252099 w 6096000"/>
              <a:gd name="connsiteY3" fmla="*/ 6501600 h 6501600"/>
              <a:gd name="connsiteX4" fmla="*/ 0 w 6096000"/>
              <a:gd name="connsiteY4" fmla="*/ 6249385 h 6501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501600">
                <a:moveTo>
                  <a:pt x="0" y="0"/>
                </a:moveTo>
                <a:lnTo>
                  <a:pt x="6096000" y="0"/>
                </a:lnTo>
                <a:lnTo>
                  <a:pt x="6096000" y="6501600"/>
                </a:lnTo>
                <a:lnTo>
                  <a:pt x="252099" y="6501600"/>
                </a:lnTo>
                <a:cubicBezTo>
                  <a:pt x="252099" y="6362305"/>
                  <a:pt x="139231" y="6249385"/>
                  <a:pt x="0" y="6249385"/>
                </a:cubicBez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609600" y="609600"/>
            <a:ext cx="5089731" cy="182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609601" y="2436812"/>
            <a:ext cx="5089731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4A273669-5DE8-2448-A646-28D9A9212653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00810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righ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357532" y="0"/>
            <a:ext cx="4834469" cy="64980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664518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1A3891D-9DBE-BF49-9CDD-F3F2CD2E380E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25276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layout x 4 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 userDrawn="1"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 userDrawn="1"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869169B-B7FF-964A-A77F-B06A7C2AA097}"/>
              </a:ext>
            </a:extLst>
          </p:cNvPr>
          <p:cNvSpPr>
            <a:spLocks noGrp="1" noChangeAspect="1"/>
          </p:cNvSpPr>
          <p:nvPr>
            <p:ph type="body" sz="quarter" idx="17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FD3E5BD-E875-EE4C-9CB4-36F3C3D3E4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46335" cy="974986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4" name="Picture Placeholder 16">
            <a:extLst>
              <a:ext uri="{FF2B5EF4-FFF2-40B4-BE49-F238E27FC236}">
                <a16:creationId xmlns:a16="http://schemas.microsoft.com/office/drawing/2014/main" id="{5ABFEEB8-51F9-0142-A050-4625F6325514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898470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5" name="Text Placeholder 7">
            <a:extLst>
              <a:ext uri="{FF2B5EF4-FFF2-40B4-BE49-F238E27FC236}">
                <a16:creationId xmlns:a16="http://schemas.microsoft.com/office/drawing/2014/main" id="{F9E2A247-90BA-314A-BDCD-0A4AECB670C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522325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9A3DB6A0-2E22-9F4E-8C30-ECA98F4FDBDD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898470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C9E62EE-D701-B347-BBEF-F2599FBBA8F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1522325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945DC05E-C003-B74C-9DD3-11B31C7A2EB4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435679" y="1584585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815B1402-52BD-4944-86EC-993B6CCD1D8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09233" y="1969477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38615044-966E-9341-99DF-7BCA47F3C021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6435679" y="3877718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1E7B9924-E501-1945-9875-2CFFD0035874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309233" y="4262610"/>
            <a:ext cx="2376145" cy="1097070"/>
          </a:xfrm>
        </p:spPr>
        <p:txBody>
          <a:bodyPr lIns="180000" tIns="36000" rIns="180000" bIns="36000" anchor="ctr">
            <a:noAutofit/>
          </a:bodyPr>
          <a:lstStyle>
            <a:lvl1pPr algn="l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l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2094173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layout x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reeform 13">
            <a:extLst>
              <a:ext uri="{FF2B5EF4-FFF2-40B4-BE49-F238E27FC236}">
                <a16:creationId xmlns:a16="http://schemas.microsoft.com/office/drawing/2014/main" id="{CA9069D4-BBD5-6840-9646-5955E2C1E9C0}"/>
              </a:ext>
            </a:extLst>
          </p:cNvPr>
          <p:cNvSpPr/>
          <p:nvPr userDrawn="1"/>
        </p:nvSpPr>
        <p:spPr>
          <a:xfrm>
            <a:off x="0" y="3429000"/>
            <a:ext cx="12192000" cy="3069000"/>
          </a:xfrm>
          <a:custGeom>
            <a:avLst/>
            <a:gdLst>
              <a:gd name="connsiteX0" fmla="*/ 0 w 12192000"/>
              <a:gd name="connsiteY0" fmla="*/ 0 h 3069000"/>
              <a:gd name="connsiteX1" fmla="*/ 12192000 w 12192000"/>
              <a:gd name="connsiteY1" fmla="*/ 0 h 3069000"/>
              <a:gd name="connsiteX2" fmla="*/ 12192000 w 12192000"/>
              <a:gd name="connsiteY2" fmla="*/ 3069000 h 3069000"/>
              <a:gd name="connsiteX3" fmla="*/ 6347607 w 12192000"/>
              <a:gd name="connsiteY3" fmla="*/ 3069000 h 3069000"/>
              <a:gd name="connsiteX4" fmla="*/ 6348000 w 12192000"/>
              <a:gd name="connsiteY4" fmla="*/ 3067050 h 3069000"/>
              <a:gd name="connsiteX5" fmla="*/ 6096000 w 12192000"/>
              <a:gd name="connsiteY5" fmla="*/ 2815050 h 3069000"/>
              <a:gd name="connsiteX6" fmla="*/ 5844000 w 12192000"/>
              <a:gd name="connsiteY6" fmla="*/ 3067050 h 3069000"/>
              <a:gd name="connsiteX7" fmla="*/ 5844394 w 12192000"/>
              <a:gd name="connsiteY7" fmla="*/ 3069000 h 3069000"/>
              <a:gd name="connsiteX8" fmla="*/ 0 w 12192000"/>
              <a:gd name="connsiteY8" fmla="*/ 3069000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3069000">
                <a:moveTo>
                  <a:pt x="0" y="0"/>
                </a:moveTo>
                <a:lnTo>
                  <a:pt x="12192000" y="0"/>
                </a:lnTo>
                <a:lnTo>
                  <a:pt x="12192000" y="3069000"/>
                </a:lnTo>
                <a:lnTo>
                  <a:pt x="6347607" y="306900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5844394" y="3069000"/>
                </a:lnTo>
                <a:lnTo>
                  <a:pt x="0" y="306900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388810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6645180" cy="119274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1A3891D-9DBE-BF49-9CDD-F3F2CD2E380E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388810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904652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904652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420494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420494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36335" y="2245892"/>
            <a:ext cx="1866855" cy="1866855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36335" y="4119144"/>
            <a:ext cx="1866855" cy="1131120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8744087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layout x 8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Freeform 29">
            <a:extLst>
              <a:ext uri="{FF2B5EF4-FFF2-40B4-BE49-F238E27FC236}">
                <a16:creationId xmlns:a16="http://schemas.microsoft.com/office/drawing/2014/main" id="{B4DB38A8-ED85-1347-B790-9A2BE1DBEF4C}"/>
              </a:ext>
            </a:extLst>
          </p:cNvPr>
          <p:cNvSpPr/>
          <p:nvPr userDrawn="1"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571538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1A3891D-9DBE-BF49-9CDD-F3F2CD2E380E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31784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08738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74762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603222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63468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1906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77930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571538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1231784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408738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374762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603222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6263468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11906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77930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1086901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Title 1">
            <a:extLst>
              <a:ext uri="{FF2B5EF4-FFF2-40B4-BE49-F238E27FC236}">
                <a16:creationId xmlns:a16="http://schemas.microsoft.com/office/drawing/2014/main" id="{EF1D07A6-4178-244F-A520-0414F302AC0A}"/>
              </a:ext>
            </a:extLst>
          </p:cNvPr>
          <p:cNvSpPr txBox="1">
            <a:spLocks/>
          </p:cNvSpPr>
          <p:nvPr userDrawn="1"/>
        </p:nvSpPr>
        <p:spPr>
          <a:xfrm>
            <a:off x="615017" y="606552"/>
            <a:ext cx="5740063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>
            <a:lvl1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tabLst>
                <a:tab pos="1778000" algn="l"/>
              </a:tabLst>
              <a:defRPr sz="24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4500">
                <a:solidFill>
                  <a:schemeClr val="bg1"/>
                </a:solidFill>
              </a:rPr>
              <a:t>Todays Agenda</a:t>
            </a:r>
          </a:p>
        </p:txBody>
      </p:sp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tx2">
              <a:lumMod val="20000"/>
              <a:lumOff val="8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7" name="Text Placeholder 46">
            <a:extLst>
              <a:ext uri="{FF2B5EF4-FFF2-40B4-BE49-F238E27FC236}">
                <a16:creationId xmlns:a16="http://schemas.microsoft.com/office/drawing/2014/main" id="{4B84F29C-D94D-954F-84AE-B2D3A9F3937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913636" y="1879600"/>
            <a:ext cx="10567928" cy="3085507"/>
          </a:xfrm>
          <a:custGeom>
            <a:avLst/>
            <a:gdLst>
              <a:gd name="connsiteX0" fmla="*/ 7621350 w 10567928"/>
              <a:gd name="connsiteY0" fmla="*/ 0 h 3085507"/>
              <a:gd name="connsiteX1" fmla="*/ 10567928 w 10567928"/>
              <a:gd name="connsiteY1" fmla="*/ 0 h 3085507"/>
              <a:gd name="connsiteX2" fmla="*/ 9796551 w 10567928"/>
              <a:gd name="connsiteY2" fmla="*/ 3085507 h 3085507"/>
              <a:gd name="connsiteX3" fmla="*/ 6849973 w 10567928"/>
              <a:gd name="connsiteY3" fmla="*/ 3085507 h 3085507"/>
              <a:gd name="connsiteX4" fmla="*/ 4185698 w 10567928"/>
              <a:gd name="connsiteY4" fmla="*/ 0 h 3085507"/>
              <a:gd name="connsiteX5" fmla="*/ 7132276 w 10567928"/>
              <a:gd name="connsiteY5" fmla="*/ 0 h 3085507"/>
              <a:gd name="connsiteX6" fmla="*/ 6360899 w 10567928"/>
              <a:gd name="connsiteY6" fmla="*/ 3085507 h 3085507"/>
              <a:gd name="connsiteX7" fmla="*/ 3414321 w 10567928"/>
              <a:gd name="connsiteY7" fmla="*/ 3085507 h 3085507"/>
              <a:gd name="connsiteX8" fmla="*/ 771377 w 10567928"/>
              <a:gd name="connsiteY8" fmla="*/ 0 h 3085507"/>
              <a:gd name="connsiteX9" fmla="*/ 3717955 w 10567928"/>
              <a:gd name="connsiteY9" fmla="*/ 0 h 3085507"/>
              <a:gd name="connsiteX10" fmla="*/ 2946578 w 10567928"/>
              <a:gd name="connsiteY10" fmla="*/ 3085507 h 3085507"/>
              <a:gd name="connsiteX11" fmla="*/ 0 w 10567928"/>
              <a:gd name="connsiteY11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567928" h="3085507">
                <a:moveTo>
                  <a:pt x="7621350" y="0"/>
                </a:moveTo>
                <a:lnTo>
                  <a:pt x="10567928" y="0"/>
                </a:lnTo>
                <a:lnTo>
                  <a:pt x="9796551" y="3085507"/>
                </a:lnTo>
                <a:lnTo>
                  <a:pt x="684997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5" name="Text Placeholder 54">
            <a:extLst>
              <a:ext uri="{FF2B5EF4-FFF2-40B4-BE49-F238E27FC236}">
                <a16:creationId xmlns:a16="http://schemas.microsoft.com/office/drawing/2014/main" id="{6CBD5F40-1D90-DD4C-B6B7-B57D94A80127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-4780221" y="-3701053"/>
            <a:ext cx="7132276" cy="3085507"/>
          </a:xfrm>
          <a:custGeom>
            <a:avLst/>
            <a:gdLst>
              <a:gd name="connsiteX0" fmla="*/ 4185698 w 7132276"/>
              <a:gd name="connsiteY0" fmla="*/ 0 h 3085507"/>
              <a:gd name="connsiteX1" fmla="*/ 7132276 w 7132276"/>
              <a:gd name="connsiteY1" fmla="*/ 0 h 3085507"/>
              <a:gd name="connsiteX2" fmla="*/ 6360899 w 7132276"/>
              <a:gd name="connsiteY2" fmla="*/ 3085507 h 3085507"/>
              <a:gd name="connsiteX3" fmla="*/ 3414321 w 7132276"/>
              <a:gd name="connsiteY3" fmla="*/ 3085507 h 3085507"/>
              <a:gd name="connsiteX4" fmla="*/ 771377 w 7132276"/>
              <a:gd name="connsiteY4" fmla="*/ 0 h 3085507"/>
              <a:gd name="connsiteX5" fmla="*/ 3717955 w 7132276"/>
              <a:gd name="connsiteY5" fmla="*/ 0 h 3085507"/>
              <a:gd name="connsiteX6" fmla="*/ 2946578 w 7132276"/>
              <a:gd name="connsiteY6" fmla="*/ 3085507 h 3085507"/>
              <a:gd name="connsiteX7" fmla="*/ 0 w 7132276"/>
              <a:gd name="connsiteY7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132276" h="3085507"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4" name="Text Placeholder 53">
            <a:extLst>
              <a:ext uri="{FF2B5EF4-FFF2-40B4-BE49-F238E27FC236}">
                <a16:creationId xmlns:a16="http://schemas.microsoft.com/office/drawing/2014/main" id="{4E58788E-AC90-1745-BF47-05A11C6088B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420351" y="-3701053"/>
            <a:ext cx="13944009" cy="3085507"/>
          </a:xfrm>
          <a:custGeom>
            <a:avLst/>
            <a:gdLst>
              <a:gd name="connsiteX0" fmla="*/ 10997431 w 13944009"/>
              <a:gd name="connsiteY0" fmla="*/ 0 h 3085507"/>
              <a:gd name="connsiteX1" fmla="*/ 13944009 w 13944009"/>
              <a:gd name="connsiteY1" fmla="*/ 0 h 3085507"/>
              <a:gd name="connsiteX2" fmla="*/ 13172632 w 13944009"/>
              <a:gd name="connsiteY2" fmla="*/ 3085507 h 3085507"/>
              <a:gd name="connsiteX3" fmla="*/ 10226054 w 13944009"/>
              <a:gd name="connsiteY3" fmla="*/ 3085507 h 3085507"/>
              <a:gd name="connsiteX4" fmla="*/ 7583110 w 13944009"/>
              <a:gd name="connsiteY4" fmla="*/ 0 h 3085507"/>
              <a:gd name="connsiteX5" fmla="*/ 10529688 w 13944009"/>
              <a:gd name="connsiteY5" fmla="*/ 0 h 3085507"/>
              <a:gd name="connsiteX6" fmla="*/ 9758311 w 13944009"/>
              <a:gd name="connsiteY6" fmla="*/ 3085507 h 3085507"/>
              <a:gd name="connsiteX7" fmla="*/ 6811733 w 13944009"/>
              <a:gd name="connsiteY7" fmla="*/ 3085507 h 3085507"/>
              <a:gd name="connsiteX8" fmla="*/ 4185698 w 13944009"/>
              <a:gd name="connsiteY8" fmla="*/ 0 h 3085507"/>
              <a:gd name="connsiteX9" fmla="*/ 7132276 w 13944009"/>
              <a:gd name="connsiteY9" fmla="*/ 0 h 3085507"/>
              <a:gd name="connsiteX10" fmla="*/ 6360899 w 13944009"/>
              <a:gd name="connsiteY10" fmla="*/ 3085507 h 3085507"/>
              <a:gd name="connsiteX11" fmla="*/ 3414321 w 13944009"/>
              <a:gd name="connsiteY11" fmla="*/ 3085507 h 3085507"/>
              <a:gd name="connsiteX12" fmla="*/ 771377 w 13944009"/>
              <a:gd name="connsiteY12" fmla="*/ 0 h 3085507"/>
              <a:gd name="connsiteX13" fmla="*/ 3717955 w 13944009"/>
              <a:gd name="connsiteY13" fmla="*/ 0 h 3085507"/>
              <a:gd name="connsiteX14" fmla="*/ 2946578 w 13944009"/>
              <a:gd name="connsiteY14" fmla="*/ 3085507 h 3085507"/>
              <a:gd name="connsiteX15" fmla="*/ 0 w 13944009"/>
              <a:gd name="connsiteY15" fmla="*/ 3085507 h 308550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13944009" h="3085507">
                <a:moveTo>
                  <a:pt x="10997431" y="0"/>
                </a:moveTo>
                <a:lnTo>
                  <a:pt x="13944009" y="0"/>
                </a:lnTo>
                <a:lnTo>
                  <a:pt x="13172632" y="3085507"/>
                </a:lnTo>
                <a:lnTo>
                  <a:pt x="10226054" y="3085507"/>
                </a:lnTo>
                <a:close/>
                <a:moveTo>
                  <a:pt x="7583110" y="0"/>
                </a:moveTo>
                <a:lnTo>
                  <a:pt x="10529688" y="0"/>
                </a:lnTo>
                <a:lnTo>
                  <a:pt x="9758311" y="3085507"/>
                </a:lnTo>
                <a:lnTo>
                  <a:pt x="6811733" y="3085507"/>
                </a:lnTo>
                <a:close/>
                <a:moveTo>
                  <a:pt x="4185698" y="0"/>
                </a:moveTo>
                <a:lnTo>
                  <a:pt x="7132276" y="0"/>
                </a:lnTo>
                <a:lnTo>
                  <a:pt x="6360899" y="3085507"/>
                </a:lnTo>
                <a:lnTo>
                  <a:pt x="3414321" y="3085507"/>
                </a:lnTo>
                <a:close/>
                <a:moveTo>
                  <a:pt x="771377" y="0"/>
                </a:moveTo>
                <a:lnTo>
                  <a:pt x="3717955" y="0"/>
                </a:lnTo>
                <a:lnTo>
                  <a:pt x="2946578" y="3085507"/>
                </a:lnTo>
                <a:lnTo>
                  <a:pt x="0" y="3085507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r>
              <a:rPr lang="en-GB"/>
              <a:t>    </a:t>
            </a:r>
            <a:endParaRPr lang="en-US"/>
          </a:p>
        </p:txBody>
      </p:sp>
      <p:sp>
        <p:nvSpPr>
          <p:cNvPr id="57" name="Text Placeholder 56">
            <a:extLst>
              <a:ext uri="{FF2B5EF4-FFF2-40B4-BE49-F238E27FC236}">
                <a16:creationId xmlns:a16="http://schemas.microsoft.com/office/drawing/2014/main" id="{2E28E51D-7300-EC4D-A09B-64EA6E9FACE4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171450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8" name="Text Placeholder 56">
            <a:extLst>
              <a:ext uri="{FF2B5EF4-FFF2-40B4-BE49-F238E27FC236}">
                <a16:creationId xmlns:a16="http://schemas.microsoft.com/office/drawing/2014/main" id="{F66483F3-8055-5347-A6FF-F7895E5E8E8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171450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59" name="Text Placeholder 56">
            <a:extLst>
              <a:ext uri="{FF2B5EF4-FFF2-40B4-BE49-F238E27FC236}">
                <a16:creationId xmlns:a16="http://schemas.microsoft.com/office/drawing/2014/main" id="{02FECF16-70BE-6C4F-BB2A-FD0693BFB3F4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159896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0" name="Text Placeholder 56">
            <a:extLst>
              <a:ext uri="{FF2B5EF4-FFF2-40B4-BE49-F238E27FC236}">
                <a16:creationId xmlns:a16="http://schemas.microsoft.com/office/drawing/2014/main" id="{289D0B76-0415-2D4E-87A4-9E58C0035441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159896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  <p:sp>
        <p:nvSpPr>
          <p:cNvPr id="61" name="Text Placeholder 56">
            <a:extLst>
              <a:ext uri="{FF2B5EF4-FFF2-40B4-BE49-F238E27FC236}">
                <a16:creationId xmlns:a16="http://schemas.microsoft.com/office/drawing/2014/main" id="{6D87313E-EBF1-684A-82D4-D26EE269429D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616280" y="2044700"/>
            <a:ext cx="647700" cy="482600"/>
          </a:xfrm>
        </p:spPr>
        <p:txBody>
          <a:bodyPr anchor="ctr">
            <a:normAutofit/>
          </a:bodyPr>
          <a:lstStyle>
            <a:lvl1pPr algn="ctr"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2" name="Text Placeholder 56">
            <a:extLst>
              <a:ext uri="{FF2B5EF4-FFF2-40B4-BE49-F238E27FC236}">
                <a16:creationId xmlns:a16="http://schemas.microsoft.com/office/drawing/2014/main" id="{007DF5D0-3E64-3646-BDF1-66B9275404B5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616280" y="3181053"/>
            <a:ext cx="2197100" cy="482600"/>
          </a:xfrm>
        </p:spPr>
        <p:txBody>
          <a:bodyPr anchor="ctr">
            <a:normAutofit/>
          </a:bodyPr>
          <a:lstStyle>
            <a:lvl1pPr algn="l">
              <a:lnSpc>
                <a:spcPct val="100000"/>
              </a:lnSpc>
              <a:defRPr sz="3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Agenda point Title</a:t>
            </a:r>
          </a:p>
        </p:txBody>
      </p:sp>
    </p:spTree>
    <p:extLst>
      <p:ext uri="{BB962C8B-B14F-4D97-AF65-F5344CB8AC3E}">
        <p14:creationId xmlns:p14="http://schemas.microsoft.com/office/powerpoint/2010/main" val="3015863517"/>
      </p:ext>
    </p:extLst>
  </p:cSld>
  <p:clrMapOvr>
    <a:masterClrMapping/>
  </p:clrMapOvr>
</p:sldLayout>
</file>

<file path=ppt/slideLayouts/slideLayout3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layout x 10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4" name="Freeform 33">
            <a:extLst>
              <a:ext uri="{FF2B5EF4-FFF2-40B4-BE49-F238E27FC236}">
                <a16:creationId xmlns:a16="http://schemas.microsoft.com/office/drawing/2014/main" id="{197B69D6-70A7-CE4F-9A01-697D3720C72F}"/>
              </a:ext>
            </a:extLst>
          </p:cNvPr>
          <p:cNvSpPr/>
          <p:nvPr userDrawn="1"/>
        </p:nvSpPr>
        <p:spPr>
          <a:xfrm>
            <a:off x="0" y="4546834"/>
            <a:ext cx="12192000" cy="1951167"/>
          </a:xfrm>
          <a:custGeom>
            <a:avLst/>
            <a:gdLst>
              <a:gd name="connsiteX0" fmla="*/ 0 w 12192000"/>
              <a:gd name="connsiteY0" fmla="*/ 0 h 1951167"/>
              <a:gd name="connsiteX1" fmla="*/ 12192000 w 12192000"/>
              <a:gd name="connsiteY1" fmla="*/ 0 h 1951167"/>
              <a:gd name="connsiteX2" fmla="*/ 12192000 w 12192000"/>
              <a:gd name="connsiteY2" fmla="*/ 1951167 h 1951167"/>
              <a:gd name="connsiteX3" fmla="*/ 6347607 w 12192000"/>
              <a:gd name="connsiteY3" fmla="*/ 1951167 h 1951167"/>
              <a:gd name="connsiteX4" fmla="*/ 6348000 w 12192000"/>
              <a:gd name="connsiteY4" fmla="*/ 1949217 h 1951167"/>
              <a:gd name="connsiteX5" fmla="*/ 6096000 w 12192000"/>
              <a:gd name="connsiteY5" fmla="*/ 1697217 h 1951167"/>
              <a:gd name="connsiteX6" fmla="*/ 5844000 w 12192000"/>
              <a:gd name="connsiteY6" fmla="*/ 1949217 h 1951167"/>
              <a:gd name="connsiteX7" fmla="*/ 5844394 w 12192000"/>
              <a:gd name="connsiteY7" fmla="*/ 1951167 h 1951167"/>
              <a:gd name="connsiteX8" fmla="*/ 0 w 12192000"/>
              <a:gd name="connsiteY8" fmla="*/ 1951167 h 195116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1951167">
                <a:moveTo>
                  <a:pt x="0" y="0"/>
                </a:moveTo>
                <a:lnTo>
                  <a:pt x="12192000" y="0"/>
                </a:lnTo>
                <a:lnTo>
                  <a:pt x="12192000" y="1951167"/>
                </a:lnTo>
                <a:lnTo>
                  <a:pt x="6347607" y="1951167"/>
                </a:lnTo>
                <a:lnTo>
                  <a:pt x="6348000" y="1949217"/>
                </a:lnTo>
                <a:cubicBezTo>
                  <a:pt x="6348000" y="1810041"/>
                  <a:pt x="6235176" y="1697217"/>
                  <a:pt x="6096000" y="1697217"/>
                </a:cubicBezTo>
                <a:cubicBezTo>
                  <a:pt x="5956825" y="1697217"/>
                  <a:pt x="5844000" y="1810041"/>
                  <a:pt x="5844000" y="1949217"/>
                </a:cubicBezTo>
                <a:lnTo>
                  <a:pt x="5844394" y="1951167"/>
                </a:lnTo>
                <a:lnTo>
                  <a:pt x="0" y="1951167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D3C20F34-4FD5-2143-AB4D-393C884A409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757806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1160" cy="854279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51A3891D-9DBE-BF49-9CDD-F3F2CD2E380E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79CEDD1-36EF-F74A-8498-C86A35DDECA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18052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6" name="Picture Placeholder 16">
            <a:extLst>
              <a:ext uri="{FF2B5EF4-FFF2-40B4-BE49-F238E27FC236}">
                <a16:creationId xmlns:a16="http://schemas.microsoft.com/office/drawing/2014/main" id="{AFBFBD49-A7E5-1444-9DA5-265ACB7E390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51553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57C6F73E-3CE7-7A49-A51E-6165B69AAC4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711799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2" name="Picture Placeholder 16">
            <a:extLst>
              <a:ext uri="{FF2B5EF4-FFF2-40B4-BE49-F238E27FC236}">
                <a16:creationId xmlns:a16="http://schemas.microsoft.com/office/drawing/2014/main" id="{A5015BF3-DD4C-2A4F-BADA-651E110BBD6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345300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3" name="Text Placeholder 7">
            <a:extLst>
              <a:ext uri="{FF2B5EF4-FFF2-40B4-BE49-F238E27FC236}">
                <a16:creationId xmlns:a16="http://schemas.microsoft.com/office/drawing/2014/main" id="{2939BC0D-5961-E046-A808-6B8AC8099F5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5005546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4" name="Picture Placeholder 16">
            <a:extLst>
              <a:ext uri="{FF2B5EF4-FFF2-40B4-BE49-F238E27FC236}">
                <a16:creationId xmlns:a16="http://schemas.microsoft.com/office/drawing/2014/main" id="{A638653C-41FC-DA4F-A786-E9195EF83B3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7639047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5" name="Text Placeholder 7">
            <a:extLst>
              <a:ext uri="{FF2B5EF4-FFF2-40B4-BE49-F238E27FC236}">
                <a16:creationId xmlns:a16="http://schemas.microsoft.com/office/drawing/2014/main" id="{E9C40C38-C66F-8C44-963F-5DD7D91C70C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7299293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16">
            <a:extLst>
              <a:ext uri="{FF2B5EF4-FFF2-40B4-BE49-F238E27FC236}">
                <a16:creationId xmlns:a16="http://schemas.microsoft.com/office/drawing/2014/main" id="{89EE7683-3A0A-0B47-9813-78A5473FCCF1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757806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Text Placeholder 7">
            <a:extLst>
              <a:ext uri="{FF2B5EF4-FFF2-40B4-BE49-F238E27FC236}">
                <a16:creationId xmlns:a16="http://schemas.microsoft.com/office/drawing/2014/main" id="{AB55A3A9-FB25-AF40-BC32-AC3C3DA4E61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18052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0" name="Picture Placeholder 16">
            <a:extLst>
              <a:ext uri="{FF2B5EF4-FFF2-40B4-BE49-F238E27FC236}">
                <a16:creationId xmlns:a16="http://schemas.microsoft.com/office/drawing/2014/main" id="{EDA73697-3874-C344-AAE5-CE24B2383EF9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051553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762B0DD7-8060-A542-B772-E1F818A32D9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2711799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6" name="Picture Placeholder 16">
            <a:extLst>
              <a:ext uri="{FF2B5EF4-FFF2-40B4-BE49-F238E27FC236}">
                <a16:creationId xmlns:a16="http://schemas.microsoft.com/office/drawing/2014/main" id="{105967BD-F5FD-9F41-9CC6-8784B49815D8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5345300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7" name="Text Placeholder 7">
            <a:extLst>
              <a:ext uri="{FF2B5EF4-FFF2-40B4-BE49-F238E27FC236}">
                <a16:creationId xmlns:a16="http://schemas.microsoft.com/office/drawing/2014/main" id="{BDABB33E-69CC-1B46-AC9C-83F4DCC4D172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005546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8" name="Picture Placeholder 16">
            <a:extLst>
              <a:ext uri="{FF2B5EF4-FFF2-40B4-BE49-F238E27FC236}">
                <a16:creationId xmlns:a16="http://schemas.microsoft.com/office/drawing/2014/main" id="{35B3E652-6F5F-B643-9023-FF57D267CDCD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39047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7B9C40-A873-8740-BC3A-4781CC1D4B9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7299293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Picture Placeholder 16">
            <a:extLst>
              <a:ext uri="{FF2B5EF4-FFF2-40B4-BE49-F238E27FC236}">
                <a16:creationId xmlns:a16="http://schemas.microsoft.com/office/drawing/2014/main" id="{133D25D3-41F4-CF45-B3FB-081FF3E957B3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9932794" y="14638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702652BE-BCA5-5E41-A735-774F4FD02235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9593040" y="29741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Picture Placeholder 16">
            <a:extLst>
              <a:ext uri="{FF2B5EF4-FFF2-40B4-BE49-F238E27FC236}">
                <a16:creationId xmlns:a16="http://schemas.microsoft.com/office/drawing/2014/main" id="{3A70D29D-1742-1E42-A75A-59E3F3070059}"/>
              </a:ext>
            </a:extLst>
          </p:cNvPr>
          <p:cNvSpPr>
            <a:spLocks noGrp="1"/>
          </p:cNvSpPr>
          <p:nvPr>
            <p:ph type="pic" sz="quarter" idx="31"/>
          </p:nvPr>
        </p:nvSpPr>
        <p:spPr>
          <a:xfrm>
            <a:off x="9932794" y="3782179"/>
            <a:ext cx="1501400" cy="1501400"/>
          </a:xfrm>
          <a:custGeom>
            <a:avLst/>
            <a:gdLst>
              <a:gd name="connsiteX0" fmla="*/ 0 w 4063573"/>
              <a:gd name="connsiteY0" fmla="*/ 0 h 6498000"/>
              <a:gd name="connsiteX1" fmla="*/ 4063573 w 4063573"/>
              <a:gd name="connsiteY1" fmla="*/ 0 h 6498000"/>
              <a:gd name="connsiteX2" fmla="*/ 4063573 w 4063573"/>
              <a:gd name="connsiteY2" fmla="*/ 6498000 h 6498000"/>
              <a:gd name="connsiteX3" fmla="*/ 0 w 4063573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3573" h="6498000">
                <a:moveTo>
                  <a:pt x="0" y="0"/>
                </a:moveTo>
                <a:lnTo>
                  <a:pt x="4063573" y="0"/>
                </a:lnTo>
                <a:lnTo>
                  <a:pt x="4063573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3" name="Text Placeholder 7">
            <a:extLst>
              <a:ext uri="{FF2B5EF4-FFF2-40B4-BE49-F238E27FC236}">
                <a16:creationId xmlns:a16="http://schemas.microsoft.com/office/drawing/2014/main" id="{0120ECA6-14E8-FE4E-BFAC-0B4E36A58862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593040" y="5292454"/>
            <a:ext cx="2180908" cy="808025"/>
          </a:xfrm>
        </p:spPr>
        <p:txBody>
          <a:bodyPr tIns="72000">
            <a:noAutofit/>
          </a:bodyPr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400" b="0">
                <a:solidFill>
                  <a:schemeClr val="tx1"/>
                </a:solidFill>
              </a:defRPr>
            </a:lvl2pPr>
            <a:lvl3pPr>
              <a:defRPr sz="1200"/>
            </a:lvl3pPr>
            <a:lvl4pPr>
              <a:defRPr sz="1200"/>
            </a:lvl4pPr>
            <a:lvl5pPr>
              <a:defRPr sz="1050"/>
            </a:lvl5pPr>
          </a:lstStyle>
          <a:p>
            <a:pPr lvl="0"/>
            <a:r>
              <a:rPr lang="en-GB"/>
              <a:t>First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564176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- left 3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 userDrawn="1"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 userDrawn="1"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E02DB30E-67C0-3445-AA5E-A5CC215D9884}"/>
              </a:ext>
            </a:extLst>
          </p:cNvPr>
          <p:cNvSpPr/>
          <p:nvPr userDrawn="1"/>
        </p:nvSpPr>
        <p:spPr>
          <a:xfrm>
            <a:off x="0" y="0"/>
            <a:ext cx="6096000" cy="6496050"/>
          </a:xfrm>
          <a:custGeom>
            <a:avLst/>
            <a:gdLst>
              <a:gd name="connsiteX0" fmla="*/ 0 w 6096000"/>
              <a:gd name="connsiteY0" fmla="*/ 0 h 6496050"/>
              <a:gd name="connsiteX1" fmla="*/ 6096000 w 6096000"/>
              <a:gd name="connsiteY1" fmla="*/ 0 h 6496050"/>
              <a:gd name="connsiteX2" fmla="*/ 6096000 w 6096000"/>
              <a:gd name="connsiteY2" fmla="*/ 6244050 h 6496050"/>
              <a:gd name="connsiteX3" fmla="*/ 5844000 w 6096000"/>
              <a:gd name="connsiteY3" fmla="*/ 6496050 h 6496050"/>
              <a:gd name="connsiteX4" fmla="*/ 0 w 6096000"/>
              <a:gd name="connsiteY4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6000" h="6496050">
                <a:moveTo>
                  <a:pt x="0" y="0"/>
                </a:moveTo>
                <a:lnTo>
                  <a:pt x="6096000" y="0"/>
                </a:lnTo>
                <a:lnTo>
                  <a:pt x="6096000" y="6244050"/>
                </a:lnTo>
                <a:cubicBezTo>
                  <a:pt x="5956825" y="6244050"/>
                  <a:pt x="5844000" y="6356874"/>
                  <a:pt x="584400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421C3BB3-1E20-074F-A332-903786DBD488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355600"/>
            <a:ext cx="2793824" cy="6140450"/>
          </a:xfrm>
          <a:solidFill>
            <a:schemeClr val="bg1">
              <a:lumMod val="95000"/>
            </a:schemeClr>
          </a:solidFill>
          <a:ln>
            <a:noFill/>
          </a:ln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 userDrawn="1">
            <p:ph type="title"/>
          </p:nvPr>
        </p:nvSpPr>
        <p:spPr>
          <a:xfrm>
            <a:off x="3039149" y="609600"/>
            <a:ext cx="8540076" cy="119274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 userDrawn="1">
            <p:ph idx="1"/>
          </p:nvPr>
        </p:nvSpPr>
        <p:spPr>
          <a:xfrm>
            <a:off x="3039150" y="2436812"/>
            <a:ext cx="2963332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1" name="Text Placeholder 13">
            <a:extLst>
              <a:ext uri="{FF2B5EF4-FFF2-40B4-BE49-F238E27FC236}">
                <a16:creationId xmlns:a16="http://schemas.microsoft.com/office/drawing/2014/main" id="{818332CE-4C93-D942-A1E5-334DE95CB86A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2986908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60881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bottom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E5F44E6D-DF58-2748-AE6C-6DAA18B4BD84}"/>
              </a:ext>
            </a:extLst>
          </p:cNvPr>
          <p:cNvSpPr/>
          <p:nvPr userDrawn="1"/>
        </p:nvSpPr>
        <p:spPr>
          <a:xfrm>
            <a:off x="0" y="0"/>
            <a:ext cx="4246177" cy="6496050"/>
          </a:xfrm>
          <a:prstGeom prst="rect">
            <a:avLst/>
          </a:pr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AE169D65-5A2D-8541-8BB9-9C9B64710AC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128518" y="3096180"/>
            <a:ext cx="11072296" cy="3399870"/>
          </a:xfrm>
          <a:custGeom>
            <a:avLst/>
            <a:gdLst>
              <a:gd name="connsiteX0" fmla="*/ 5581316 w 11072296"/>
              <a:gd name="connsiteY0" fmla="*/ 0 h 3399870"/>
              <a:gd name="connsiteX1" fmla="*/ 11072296 w 11072296"/>
              <a:gd name="connsiteY1" fmla="*/ 0 h 3399870"/>
              <a:gd name="connsiteX2" fmla="*/ 11072296 w 11072296"/>
              <a:gd name="connsiteY2" fmla="*/ 3399870 h 3399870"/>
              <a:gd name="connsiteX3" fmla="*/ 5581316 w 11072296"/>
              <a:gd name="connsiteY3" fmla="*/ 3399870 h 3399870"/>
              <a:gd name="connsiteX4" fmla="*/ 0 w 11072296"/>
              <a:gd name="connsiteY4" fmla="*/ 0 h 3399870"/>
              <a:gd name="connsiteX5" fmla="*/ 5467018 w 11072296"/>
              <a:gd name="connsiteY5" fmla="*/ 0 h 3399870"/>
              <a:gd name="connsiteX6" fmla="*/ 5467018 w 11072296"/>
              <a:gd name="connsiteY6" fmla="*/ 3399870 h 3399870"/>
              <a:gd name="connsiteX7" fmla="*/ 5219482 w 11072296"/>
              <a:gd name="connsiteY7" fmla="*/ 3399870 h 3399870"/>
              <a:gd name="connsiteX8" fmla="*/ 4967482 w 11072296"/>
              <a:gd name="connsiteY8" fmla="*/ 3147870 h 3399870"/>
              <a:gd name="connsiteX9" fmla="*/ 4715482 w 11072296"/>
              <a:gd name="connsiteY9" fmla="*/ 3399870 h 3399870"/>
              <a:gd name="connsiteX10" fmla="*/ 0 w 11072296"/>
              <a:gd name="connsiteY10" fmla="*/ 3399870 h 339987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11072296" h="3399870">
                <a:moveTo>
                  <a:pt x="5581316" y="0"/>
                </a:moveTo>
                <a:lnTo>
                  <a:pt x="11072296" y="0"/>
                </a:lnTo>
                <a:lnTo>
                  <a:pt x="11072296" y="3399870"/>
                </a:lnTo>
                <a:lnTo>
                  <a:pt x="5581316" y="3399870"/>
                </a:lnTo>
                <a:close/>
                <a:moveTo>
                  <a:pt x="0" y="0"/>
                </a:moveTo>
                <a:lnTo>
                  <a:pt x="5467018" y="0"/>
                </a:lnTo>
                <a:lnTo>
                  <a:pt x="5467018" y="3399870"/>
                </a:lnTo>
                <a:lnTo>
                  <a:pt x="5219482" y="3399870"/>
                </a:lnTo>
                <a:cubicBezTo>
                  <a:pt x="5219482" y="3260694"/>
                  <a:pt x="5106658" y="3147870"/>
                  <a:pt x="4967482" y="3147870"/>
                </a:cubicBezTo>
                <a:cubicBezTo>
                  <a:pt x="4828306" y="3147870"/>
                  <a:pt x="4715482" y="3260694"/>
                  <a:pt x="4715482" y="3399870"/>
                </a:cubicBezTo>
                <a:lnTo>
                  <a:pt x="0" y="339987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463605" cy="2486581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031779" y="609598"/>
            <a:ext cx="6547446" cy="2484631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D4B6153B-2D3D-0544-B433-E222C8CF6DE5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7632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top 1/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Freeform 11">
            <a:extLst>
              <a:ext uri="{FF2B5EF4-FFF2-40B4-BE49-F238E27FC236}">
                <a16:creationId xmlns:a16="http://schemas.microsoft.com/office/drawing/2014/main" id="{0916EB75-0C2B-C245-90E8-8C1166905B27}"/>
              </a:ext>
            </a:extLst>
          </p:cNvPr>
          <p:cNvSpPr/>
          <p:nvPr userDrawn="1"/>
        </p:nvSpPr>
        <p:spPr>
          <a:xfrm>
            <a:off x="0" y="3429000"/>
            <a:ext cx="12192000" cy="3067050"/>
          </a:xfrm>
          <a:custGeom>
            <a:avLst/>
            <a:gdLst>
              <a:gd name="connsiteX0" fmla="*/ 0 w 12192000"/>
              <a:gd name="connsiteY0" fmla="*/ 0 h 3067050"/>
              <a:gd name="connsiteX1" fmla="*/ 12192000 w 12192000"/>
              <a:gd name="connsiteY1" fmla="*/ 0 h 3067050"/>
              <a:gd name="connsiteX2" fmla="*/ 12192000 w 12192000"/>
              <a:gd name="connsiteY2" fmla="*/ 3067050 h 3067050"/>
              <a:gd name="connsiteX3" fmla="*/ 6348000 w 12192000"/>
              <a:gd name="connsiteY3" fmla="*/ 3067050 h 3067050"/>
              <a:gd name="connsiteX4" fmla="*/ 6096000 w 12192000"/>
              <a:gd name="connsiteY4" fmla="*/ 2815050 h 3067050"/>
              <a:gd name="connsiteX5" fmla="*/ 5844000 w 12192000"/>
              <a:gd name="connsiteY5" fmla="*/ 3067050 h 3067050"/>
              <a:gd name="connsiteX6" fmla="*/ 0 w 12192000"/>
              <a:gd name="connsiteY6" fmla="*/ 3067050 h 3067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2192000" h="3067050">
                <a:moveTo>
                  <a:pt x="0" y="0"/>
                </a:moveTo>
                <a:lnTo>
                  <a:pt x="12192000" y="0"/>
                </a:lnTo>
                <a:lnTo>
                  <a:pt x="12192000" y="3067050"/>
                </a:lnTo>
                <a:lnTo>
                  <a:pt x="6348000" y="3067050"/>
                </a:lnTo>
                <a:cubicBezTo>
                  <a:pt x="6348000" y="2927874"/>
                  <a:pt x="6235176" y="2815050"/>
                  <a:pt x="6096000" y="2815050"/>
                </a:cubicBezTo>
                <a:cubicBezTo>
                  <a:pt x="5956825" y="2815050"/>
                  <a:pt x="5844000" y="2927874"/>
                  <a:pt x="5844000" y="3067050"/>
                </a:cubicBezTo>
                <a:lnTo>
                  <a:pt x="0" y="3067050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C394856D-8574-4F40-BF87-BB45CD1F09B5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5235609"/>
          </a:xfrm>
          <a:custGeom>
            <a:avLst/>
            <a:gdLst>
              <a:gd name="connsiteX0" fmla="*/ 10064415 w 12192000"/>
              <a:gd name="connsiteY0" fmla="*/ 0 h 5235609"/>
              <a:gd name="connsiteX1" fmla="*/ 12192000 w 12192000"/>
              <a:gd name="connsiteY1" fmla="*/ 0 h 5235609"/>
              <a:gd name="connsiteX2" fmla="*/ 12192000 w 12192000"/>
              <a:gd name="connsiteY2" fmla="*/ 5235609 h 5235609"/>
              <a:gd name="connsiteX3" fmla="*/ 10064415 w 12192000"/>
              <a:gd name="connsiteY3" fmla="*/ 5235609 h 5235609"/>
              <a:gd name="connsiteX4" fmla="*/ 5704893 w 12192000"/>
              <a:gd name="connsiteY4" fmla="*/ 0 h 5235609"/>
              <a:gd name="connsiteX5" fmla="*/ 9950117 w 12192000"/>
              <a:gd name="connsiteY5" fmla="*/ 0 h 5235609"/>
              <a:gd name="connsiteX6" fmla="*/ 9950117 w 12192000"/>
              <a:gd name="connsiteY6" fmla="*/ 5235609 h 5235609"/>
              <a:gd name="connsiteX7" fmla="*/ 5704893 w 12192000"/>
              <a:gd name="connsiteY7" fmla="*/ 5235609 h 5235609"/>
              <a:gd name="connsiteX8" fmla="*/ 0 w 12192000"/>
              <a:gd name="connsiteY8" fmla="*/ 0 h 5235609"/>
              <a:gd name="connsiteX9" fmla="*/ 358774 w 12192000"/>
              <a:gd name="connsiteY9" fmla="*/ 0 h 5235609"/>
              <a:gd name="connsiteX10" fmla="*/ 358774 w 12192000"/>
              <a:gd name="connsiteY10" fmla="*/ 5235609 h 5235609"/>
              <a:gd name="connsiteX11" fmla="*/ 0 w 12192000"/>
              <a:gd name="connsiteY11" fmla="*/ 5235609 h 52356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5235609">
                <a:moveTo>
                  <a:pt x="10064415" y="0"/>
                </a:moveTo>
                <a:lnTo>
                  <a:pt x="12192000" y="0"/>
                </a:lnTo>
                <a:lnTo>
                  <a:pt x="12192000" y="5235609"/>
                </a:lnTo>
                <a:lnTo>
                  <a:pt x="10064415" y="5235609"/>
                </a:lnTo>
                <a:close/>
                <a:moveTo>
                  <a:pt x="5704893" y="0"/>
                </a:moveTo>
                <a:lnTo>
                  <a:pt x="9950117" y="0"/>
                </a:lnTo>
                <a:lnTo>
                  <a:pt x="9950117" y="5235609"/>
                </a:lnTo>
                <a:lnTo>
                  <a:pt x="5704893" y="5235609"/>
                </a:lnTo>
                <a:close/>
                <a:moveTo>
                  <a:pt x="0" y="0"/>
                </a:moveTo>
                <a:lnTo>
                  <a:pt x="358774" y="0"/>
                </a:lnTo>
                <a:lnTo>
                  <a:pt x="358774" y="5235609"/>
                </a:lnTo>
                <a:lnTo>
                  <a:pt x="0" y="523560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6C47FB4F-4F73-3A47-9E8F-D789ED3F8858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4899257" cy="182721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899257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311462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all out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091A91C4-155E-E445-A760-2FD007E8226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8576943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8576943 w 12192000"/>
              <a:gd name="connsiteY3" fmla="*/ 6497638 h 6497638"/>
              <a:gd name="connsiteX4" fmla="*/ 8576943 w 12192000"/>
              <a:gd name="connsiteY4" fmla="*/ 6172200 h 6497638"/>
              <a:gd name="connsiteX5" fmla="*/ 9308426 w 12192000"/>
              <a:gd name="connsiteY5" fmla="*/ 6172200 h 6497638"/>
              <a:gd name="connsiteX6" fmla="*/ 9308426 w 12192000"/>
              <a:gd name="connsiteY6" fmla="*/ 359999 h 6497638"/>
              <a:gd name="connsiteX7" fmla="*/ 8576943 w 12192000"/>
              <a:gd name="connsiteY7" fmla="*/ 359999 h 6497638"/>
              <a:gd name="connsiteX8" fmla="*/ 0 w 12192000"/>
              <a:gd name="connsiteY8" fmla="*/ 0 h 6497638"/>
              <a:gd name="connsiteX9" fmla="*/ 4240697 w 12192000"/>
              <a:gd name="connsiteY9" fmla="*/ 0 h 6497638"/>
              <a:gd name="connsiteX10" fmla="*/ 4240697 w 12192000"/>
              <a:gd name="connsiteY10" fmla="*/ 6497638 h 6497638"/>
              <a:gd name="connsiteX11" fmla="*/ 0 w 12192000"/>
              <a:gd name="connsiteY11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497638">
                <a:moveTo>
                  <a:pt x="8576943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8576943" y="6497638"/>
                </a:lnTo>
                <a:lnTo>
                  <a:pt x="8576943" y="6172200"/>
                </a:lnTo>
                <a:lnTo>
                  <a:pt x="9308426" y="6172200"/>
                </a:lnTo>
                <a:lnTo>
                  <a:pt x="9308426" y="359999"/>
                </a:lnTo>
                <a:lnTo>
                  <a:pt x="8576943" y="359999"/>
                </a:lnTo>
                <a:close/>
                <a:moveTo>
                  <a:pt x="0" y="0"/>
                </a:moveTo>
                <a:lnTo>
                  <a:pt x="4240697" y="0"/>
                </a:lnTo>
                <a:lnTo>
                  <a:pt x="4240697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17C419D4-7844-8645-A93F-608B2A31FE8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8576943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8576943 w 12192000"/>
              <a:gd name="connsiteY3" fmla="*/ 6498000 h 6498000"/>
              <a:gd name="connsiteX4" fmla="*/ 8576943 w 12192000"/>
              <a:gd name="connsiteY4" fmla="*/ 6172200 h 6498000"/>
              <a:gd name="connsiteX5" fmla="*/ 9308426 w 12192000"/>
              <a:gd name="connsiteY5" fmla="*/ 6172200 h 6498000"/>
              <a:gd name="connsiteX6" fmla="*/ 9308426 w 12192000"/>
              <a:gd name="connsiteY6" fmla="*/ 359999 h 6498000"/>
              <a:gd name="connsiteX7" fmla="*/ 8576943 w 12192000"/>
              <a:gd name="connsiteY7" fmla="*/ 359999 h 6498000"/>
              <a:gd name="connsiteX8" fmla="*/ 0 w 12192000"/>
              <a:gd name="connsiteY8" fmla="*/ 0 h 6498000"/>
              <a:gd name="connsiteX9" fmla="*/ 4240697 w 12192000"/>
              <a:gd name="connsiteY9" fmla="*/ 0 h 6498000"/>
              <a:gd name="connsiteX10" fmla="*/ 4240697 w 12192000"/>
              <a:gd name="connsiteY10" fmla="*/ 6498000 h 6498000"/>
              <a:gd name="connsiteX11" fmla="*/ 0 w 12192000"/>
              <a:gd name="connsiteY11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2192000" h="6498000">
                <a:moveTo>
                  <a:pt x="8576943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8576943" y="6498000"/>
                </a:lnTo>
                <a:lnTo>
                  <a:pt x="8576943" y="6172200"/>
                </a:lnTo>
                <a:lnTo>
                  <a:pt x="9308426" y="6172200"/>
                </a:lnTo>
                <a:lnTo>
                  <a:pt x="9308426" y="359999"/>
                </a:lnTo>
                <a:lnTo>
                  <a:pt x="8576943" y="359999"/>
                </a:lnTo>
                <a:close/>
                <a:moveTo>
                  <a:pt x="0" y="0"/>
                </a:moveTo>
                <a:lnTo>
                  <a:pt x="4240697" y="0"/>
                </a:lnTo>
                <a:lnTo>
                  <a:pt x="4240697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434105" cy="2819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8704764-5568-8B41-B513-A6931F89260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40239" y="1056612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DEAE2D71-1538-5D46-A3E8-201696276CE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099937" y="1056612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1" name="Text Placeholder 6">
            <a:extLst>
              <a:ext uri="{FF2B5EF4-FFF2-40B4-BE49-F238E27FC236}">
                <a16:creationId xmlns:a16="http://schemas.microsoft.com/office/drawing/2014/main" id="{33C59DB6-68B7-5C4A-8106-D74E5DF19A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40239" y="2710048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2" name="Text Placeholder 6">
            <a:extLst>
              <a:ext uri="{FF2B5EF4-FFF2-40B4-BE49-F238E27FC236}">
                <a16:creationId xmlns:a16="http://schemas.microsoft.com/office/drawing/2014/main" id="{5D36210B-701B-D042-B701-14479EBE2815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099937" y="2710048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  <p:sp>
        <p:nvSpPr>
          <p:cNvPr id="23" name="Text Placeholder 6">
            <a:extLst>
              <a:ext uri="{FF2B5EF4-FFF2-40B4-BE49-F238E27FC236}">
                <a16:creationId xmlns:a16="http://schemas.microsoft.com/office/drawing/2014/main" id="{FC3F4854-7AB9-D14B-9695-E24C3E2F0F7E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440239" y="4363484"/>
            <a:ext cx="1655762" cy="1413266"/>
          </a:xfrm>
        </p:spPr>
        <p:txBody>
          <a:bodyPr anchor="ctr">
            <a:normAutofit/>
          </a:bodyPr>
          <a:lstStyle>
            <a:lvl1pPr>
              <a:lnSpc>
                <a:spcPct val="100000"/>
              </a:lnSpc>
              <a:defRPr sz="60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XX</a:t>
            </a:r>
          </a:p>
        </p:txBody>
      </p:sp>
      <p:sp>
        <p:nvSpPr>
          <p:cNvPr id="24" name="Text Placeholder 6">
            <a:extLst>
              <a:ext uri="{FF2B5EF4-FFF2-40B4-BE49-F238E27FC236}">
                <a16:creationId xmlns:a16="http://schemas.microsoft.com/office/drawing/2014/main" id="{DB0BC641-2F1D-BB47-ABAC-E5C26E2A8A16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099937" y="4363484"/>
            <a:ext cx="2975169" cy="1413266"/>
          </a:xfrm>
        </p:spPr>
        <p:txBody>
          <a:bodyPr anchor="ctr">
            <a:noAutofit/>
          </a:bodyPr>
          <a:lstStyle>
            <a:lvl1pPr>
              <a:lnSpc>
                <a:spcPct val="100000"/>
              </a:lnSpc>
              <a:defRPr sz="1600" b="0">
                <a:solidFill>
                  <a:schemeClr val="tx1"/>
                </a:solidFill>
              </a:defRPr>
            </a:lvl1pPr>
          </a:lstStyle>
          <a:p>
            <a:pPr lvl="0"/>
            <a:r>
              <a:rPr lang="en-GB"/>
              <a:t>Text goes here</a:t>
            </a:r>
          </a:p>
        </p:txBody>
      </p:sp>
    </p:spTree>
    <p:extLst>
      <p:ext uri="{BB962C8B-B14F-4D97-AF65-F5344CB8AC3E}">
        <p14:creationId xmlns:p14="http://schemas.microsoft.com/office/powerpoint/2010/main" val="8131470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 layout - imag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3A4938D4-7324-F04A-8293-68CFC05B0FF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lIns="4680000" rIns="4680000"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Click icon to add image – then send to back so the gradient overlay is top of imag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5063118" cy="184636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096000" y="609600"/>
            <a:ext cx="5487666" cy="5638742"/>
          </a:xfrm>
        </p:spPr>
        <p:txBody>
          <a:bodyPr anchor="ctr"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2355611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741227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F59B994F-868B-BB40-8716-B0601879182D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428999 h 6498000"/>
              <a:gd name="connsiteX18" fmla="*/ 0 w 12192000"/>
              <a:gd name="connsiteY18" fmla="*/ 3428999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18459187-E524-7048-BA1C-D09E27D11A4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ext Placeholder 7">
            <a:extLst>
              <a:ext uri="{FF2B5EF4-FFF2-40B4-BE49-F238E27FC236}">
                <a16:creationId xmlns:a16="http://schemas.microsoft.com/office/drawing/2014/main" id="{DA47B588-B43F-B04D-962B-785D735F615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12" name="Text Placeholder 7">
            <a:extLst>
              <a:ext uri="{FF2B5EF4-FFF2-40B4-BE49-F238E27FC236}">
                <a16:creationId xmlns:a16="http://schemas.microsoft.com/office/drawing/2014/main" id="{62154988-CC76-6049-932F-876F07091A5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3200" b="1">
                <a:solidFill>
                  <a:schemeClr val="accent4"/>
                </a:solidFill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826883"/>
            <a:ext cx="2973032" cy="2374704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8945346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 - image alternativ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Picture Placeholder 14">
            <a:extLst>
              <a:ext uri="{FF2B5EF4-FFF2-40B4-BE49-F238E27FC236}">
                <a16:creationId xmlns:a16="http://schemas.microsoft.com/office/drawing/2014/main" id="{75507098-AC0F-3642-8D84-AA8E6D44B04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6096000 w 12192000"/>
              <a:gd name="connsiteY0" fmla="*/ 6130924 h 6498000"/>
              <a:gd name="connsiteX1" fmla="*/ 6432432 w 12192000"/>
              <a:gd name="connsiteY1" fmla="*/ 6353926 h 6498000"/>
              <a:gd name="connsiteX2" fmla="*/ 6441895 w 12192000"/>
              <a:gd name="connsiteY2" fmla="*/ 6400799 h 6498000"/>
              <a:gd name="connsiteX3" fmla="*/ 12192000 w 12192000"/>
              <a:gd name="connsiteY3" fmla="*/ 6400799 h 6498000"/>
              <a:gd name="connsiteX4" fmla="*/ 12192000 w 12192000"/>
              <a:gd name="connsiteY4" fmla="*/ 6498000 h 6498000"/>
              <a:gd name="connsiteX5" fmla="*/ 6347607 w 12192000"/>
              <a:gd name="connsiteY5" fmla="*/ 6498000 h 6498000"/>
              <a:gd name="connsiteX6" fmla="*/ 6348000 w 12192000"/>
              <a:gd name="connsiteY6" fmla="*/ 6496050 h 6498000"/>
              <a:gd name="connsiteX7" fmla="*/ 6096000 w 12192000"/>
              <a:gd name="connsiteY7" fmla="*/ 6244050 h 6498000"/>
              <a:gd name="connsiteX8" fmla="*/ 5844000 w 12192000"/>
              <a:gd name="connsiteY8" fmla="*/ 6496050 h 6498000"/>
              <a:gd name="connsiteX9" fmla="*/ 5844394 w 12192000"/>
              <a:gd name="connsiteY9" fmla="*/ 6498000 h 6498000"/>
              <a:gd name="connsiteX10" fmla="*/ 0 w 12192000"/>
              <a:gd name="connsiteY10" fmla="*/ 6498000 h 6498000"/>
              <a:gd name="connsiteX11" fmla="*/ 0 w 12192000"/>
              <a:gd name="connsiteY11" fmla="*/ 6400799 h 6498000"/>
              <a:gd name="connsiteX12" fmla="*/ 5750105 w 12192000"/>
              <a:gd name="connsiteY12" fmla="*/ 6400799 h 6498000"/>
              <a:gd name="connsiteX13" fmla="*/ 5759569 w 12192000"/>
              <a:gd name="connsiteY13" fmla="*/ 6353926 h 6498000"/>
              <a:gd name="connsiteX14" fmla="*/ 6096000 w 12192000"/>
              <a:gd name="connsiteY14" fmla="*/ 6130924 h 6498000"/>
              <a:gd name="connsiteX15" fmla="*/ 0 w 12192000"/>
              <a:gd name="connsiteY15" fmla="*/ 0 h 6498000"/>
              <a:gd name="connsiteX16" fmla="*/ 12192000 w 12192000"/>
              <a:gd name="connsiteY16" fmla="*/ 0 h 6498000"/>
              <a:gd name="connsiteX17" fmla="*/ 12192000 w 12192000"/>
              <a:gd name="connsiteY17" fmla="*/ 3356264 h 6498000"/>
              <a:gd name="connsiteX18" fmla="*/ 12192000 w 12192000"/>
              <a:gd name="connsiteY18" fmla="*/ 3428999 h 6498000"/>
              <a:gd name="connsiteX19" fmla="*/ 12192000 w 12192000"/>
              <a:gd name="connsiteY19" fmla="*/ 3915787 h 6498000"/>
              <a:gd name="connsiteX20" fmla="*/ 0 w 12192000"/>
              <a:gd name="connsiteY20" fmla="*/ 3915787 h 6498000"/>
              <a:gd name="connsiteX21" fmla="*/ 0 w 12192000"/>
              <a:gd name="connsiteY21" fmla="*/ 3428999 h 6498000"/>
              <a:gd name="connsiteX22" fmla="*/ 0 w 12192000"/>
              <a:gd name="connsiteY22" fmla="*/ 335626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</a:cxnLst>
            <a:rect l="l" t="t" r="r" b="b"/>
            <a:pathLst>
              <a:path w="12192000" h="6498000">
                <a:moveTo>
                  <a:pt x="6096000" y="6130924"/>
                </a:moveTo>
                <a:cubicBezTo>
                  <a:pt x="6247240" y="6130924"/>
                  <a:pt x="6377003" y="6222877"/>
                  <a:pt x="6432432" y="6353926"/>
                </a:cubicBezTo>
                <a:lnTo>
                  <a:pt x="6441895" y="6400799"/>
                </a:lnTo>
                <a:lnTo>
                  <a:pt x="12192000" y="6400799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lnTo>
                  <a:pt x="0" y="6400799"/>
                </a:lnTo>
                <a:lnTo>
                  <a:pt x="5750105" y="6400799"/>
                </a:lnTo>
                <a:lnTo>
                  <a:pt x="5759569" y="6353926"/>
                </a:lnTo>
                <a:cubicBezTo>
                  <a:pt x="5814999" y="6222877"/>
                  <a:pt x="5944761" y="6130924"/>
                  <a:pt x="6096000" y="6130924"/>
                </a:cubicBez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3356264"/>
                </a:lnTo>
                <a:lnTo>
                  <a:pt x="12192000" y="3428999"/>
                </a:lnTo>
                <a:lnTo>
                  <a:pt x="12192000" y="3915787"/>
                </a:lnTo>
                <a:lnTo>
                  <a:pt x="0" y="3915787"/>
                </a:lnTo>
                <a:lnTo>
                  <a:pt x="0" y="3428999"/>
                </a:lnTo>
                <a:lnTo>
                  <a:pt x="0" y="3356264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t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979" y="3070253"/>
            <a:ext cx="2973600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6" name="Text Placeholder 13">
            <a:extLst>
              <a:ext uri="{FF2B5EF4-FFF2-40B4-BE49-F238E27FC236}">
                <a16:creationId xmlns:a16="http://schemas.microsoft.com/office/drawing/2014/main" id="{D0183AF5-5DC2-FE41-BFD2-3D5DCEAD6049}"/>
              </a:ext>
            </a:extLst>
          </p:cNvPr>
          <p:cNvSpPr>
            <a:spLocks noGrp="1" noChangeAspect="1"/>
          </p:cNvSpPr>
          <p:nvPr>
            <p:ph type="body" sz="quarter" idx="18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AB981F5-0602-CE4F-BC7C-A1EB35500705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227173F3-8DA6-5945-961F-DE5285530A32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4341" y="3070253"/>
            <a:ext cx="2973032" cy="2663744"/>
          </a:xfrm>
          <a:solidFill>
            <a:schemeClr val="accent5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1EECB1B2-4B29-F74A-823F-6BCFA66286D9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937979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59023512-711F-0C4F-A156-FD720C66A3F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609200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0BA21B11-DA81-F149-A2C0-25651AB36E58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8264057" y="2951452"/>
            <a:ext cx="2973600" cy="118800"/>
          </a:xfrm>
          <a:solidFill>
            <a:schemeClr val="bg1"/>
          </a:solidFill>
        </p:spPr>
        <p:txBody>
          <a:bodyPr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771232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 - image to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0" cy="3428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9FA9E08D-EBBC-D74C-8F0C-DD8EE542819B}"/>
              </a:ext>
            </a:extLst>
          </p:cNvPr>
          <p:cNvSpPr/>
          <p:nvPr userDrawn="1"/>
        </p:nvSpPr>
        <p:spPr>
          <a:xfrm>
            <a:off x="4062000" y="3429000"/>
            <a:ext cx="4069800" cy="3069000"/>
          </a:xfrm>
          <a:custGeom>
            <a:avLst/>
            <a:gdLst>
              <a:gd name="connsiteX0" fmla="*/ 0 w 4069800"/>
              <a:gd name="connsiteY0" fmla="*/ 0 h 3069000"/>
              <a:gd name="connsiteX1" fmla="*/ 4068000 w 4069800"/>
              <a:gd name="connsiteY1" fmla="*/ 0 h 3069000"/>
              <a:gd name="connsiteX2" fmla="*/ 4069800 w 4069800"/>
              <a:gd name="connsiteY2" fmla="*/ 0 h 3069000"/>
              <a:gd name="connsiteX3" fmla="*/ 4069800 w 4069800"/>
              <a:gd name="connsiteY3" fmla="*/ 3069000 h 3069000"/>
              <a:gd name="connsiteX4" fmla="*/ 2287827 w 4069800"/>
              <a:gd name="connsiteY4" fmla="*/ 3069000 h 3069000"/>
              <a:gd name="connsiteX5" fmla="*/ 2288023 w 4069800"/>
              <a:gd name="connsiteY5" fmla="*/ 3067050 h 3069000"/>
              <a:gd name="connsiteX6" fmla="*/ 2035800 w 4069800"/>
              <a:gd name="connsiteY6" fmla="*/ 2815050 h 3069000"/>
              <a:gd name="connsiteX7" fmla="*/ 1783577 w 4069800"/>
              <a:gd name="connsiteY7" fmla="*/ 3067050 h 3069000"/>
              <a:gd name="connsiteX8" fmla="*/ 1783774 w 4069800"/>
              <a:gd name="connsiteY8" fmla="*/ 3069000 h 3069000"/>
              <a:gd name="connsiteX9" fmla="*/ 1800 w 4069800"/>
              <a:gd name="connsiteY9" fmla="*/ 3069000 h 3069000"/>
              <a:gd name="connsiteX10" fmla="*/ 1800 w 4069800"/>
              <a:gd name="connsiteY10" fmla="*/ 235974 h 3069000"/>
              <a:gd name="connsiteX11" fmla="*/ 0 w 4069800"/>
              <a:gd name="connsiteY11" fmla="*/ 235974 h 3069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4069800" h="3069000">
                <a:moveTo>
                  <a:pt x="0" y="0"/>
                </a:moveTo>
                <a:lnTo>
                  <a:pt x="4068000" y="0"/>
                </a:lnTo>
                <a:lnTo>
                  <a:pt x="4069800" y="0"/>
                </a:lnTo>
                <a:lnTo>
                  <a:pt x="4069800" y="3069000"/>
                </a:lnTo>
                <a:lnTo>
                  <a:pt x="2287827" y="3069000"/>
                </a:lnTo>
                <a:lnTo>
                  <a:pt x="2288023" y="3067050"/>
                </a:lnTo>
                <a:cubicBezTo>
                  <a:pt x="2288023" y="2927874"/>
                  <a:pt x="2175099" y="2815050"/>
                  <a:pt x="2035800" y="2815050"/>
                </a:cubicBezTo>
                <a:cubicBezTo>
                  <a:pt x="1896501" y="2815050"/>
                  <a:pt x="1783577" y="2927874"/>
                  <a:pt x="1783577" y="3067050"/>
                </a:cubicBezTo>
                <a:lnTo>
                  <a:pt x="1783774" y="3069000"/>
                </a:lnTo>
                <a:lnTo>
                  <a:pt x="1800" y="3069000"/>
                </a:lnTo>
                <a:lnTo>
                  <a:pt x="1800" y="235974"/>
                </a:lnTo>
                <a:lnTo>
                  <a:pt x="0" y="235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14631013-65DA-1041-8C57-167C9C5346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5477935" cy="182721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15" name="Text Placeholder 13">
            <a:extLst>
              <a:ext uri="{FF2B5EF4-FFF2-40B4-BE49-F238E27FC236}">
                <a16:creationId xmlns:a16="http://schemas.microsoft.com/office/drawing/2014/main" id="{8077E9D1-A8B1-8B46-81B6-87467FA6DF74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8" name="Text Placeholder 7">
            <a:extLst>
              <a:ext uri="{FF2B5EF4-FFF2-40B4-BE49-F238E27FC236}">
                <a16:creationId xmlns:a16="http://schemas.microsoft.com/office/drawing/2014/main" id="{D0E0DA3E-4AF8-B845-A89E-05FD19C0665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13312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7B26C98B-BE8E-EA41-A524-6B126A418C2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937745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F025497E-6F36-0141-BDA5-C0C567EDA4B5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671200" y="2984362"/>
            <a:ext cx="849600" cy="849600"/>
          </a:xfrm>
          <a:prstGeom prst="ellipse">
            <a:avLst/>
          </a:prstGeom>
          <a:solidFill>
            <a:schemeClr val="accent5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2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0FE8E897-71C0-C94C-839C-F99C35B926B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329088" y="2984362"/>
            <a:ext cx="849600" cy="849600"/>
          </a:xfrm>
          <a:prstGeom prst="ellipse">
            <a:avLst/>
          </a:prstGeom>
          <a:solidFill>
            <a:schemeClr val="bg1"/>
          </a:solidFill>
        </p:spPr>
        <p:txBody>
          <a:bodyPr wrap="none" anchor="ctr">
            <a:noAutofit/>
          </a:bodyPr>
          <a:lstStyle>
            <a:lvl1pPr algn="ctr">
              <a:lnSpc>
                <a:spcPct val="100000"/>
              </a:lnSpc>
              <a:defRPr sz="100" b="0">
                <a:noFill/>
              </a:defRPr>
            </a:lvl1pPr>
          </a:lstStyle>
          <a:p>
            <a:pPr lvl="0"/>
            <a:r>
              <a:rPr lang="en-GB"/>
              <a:t>03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44BA5F78-CC72-F644-9807-405760E5415F}"/>
              </a:ext>
            </a:extLst>
          </p:cNvPr>
          <p:cNvSpPr>
            <a:spLocks noGrp="1"/>
          </p:cNvSpPr>
          <p:nvPr>
            <p:ph idx="19"/>
          </p:nvPr>
        </p:nvSpPr>
        <p:spPr>
          <a:xfrm>
            <a:off x="4609484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F427550E-A2A3-D34D-A752-8FBB32D00B2C}"/>
              </a:ext>
            </a:extLst>
          </p:cNvPr>
          <p:cNvSpPr>
            <a:spLocks noGrp="1"/>
          </p:cNvSpPr>
          <p:nvPr>
            <p:ph idx="20"/>
          </p:nvPr>
        </p:nvSpPr>
        <p:spPr>
          <a:xfrm>
            <a:off x="8267078" y="3969327"/>
            <a:ext cx="2973032" cy="2232260"/>
          </a:xfrm>
        </p:spPr>
        <p:txBody>
          <a:bodyPr/>
          <a:lstStyle>
            <a:lvl1pPr algn="ctr">
              <a:lnSpc>
                <a:spcPct val="80000"/>
              </a:lnSpc>
              <a:defRPr sz="2000" b="1">
                <a:solidFill>
                  <a:schemeClr val="bg2"/>
                </a:solidFill>
              </a:defRPr>
            </a:lvl1pPr>
            <a:lvl2pPr algn="ctr">
              <a:lnSpc>
                <a:spcPct val="120000"/>
              </a:lnSpc>
              <a:spcAft>
                <a:spcPts val="1200"/>
              </a:spcAft>
              <a:defRPr sz="1600" b="0">
                <a:solidFill>
                  <a:schemeClr val="tx1"/>
                </a:solidFill>
              </a:defRPr>
            </a:lvl2pPr>
            <a:lvl3pPr algn="ctr">
              <a:lnSpc>
                <a:spcPct val="120000"/>
              </a:lnSpc>
              <a:spcAft>
                <a:spcPts val="1200"/>
              </a:spcAft>
              <a:defRPr/>
            </a:lvl3pPr>
            <a:lvl4pPr algn="ctr">
              <a:lnSpc>
                <a:spcPct val="120000"/>
              </a:lnSpc>
              <a:spcAft>
                <a:spcPts val="1200"/>
              </a:spcAft>
              <a:defRPr/>
            </a:lvl4pPr>
            <a:lvl5pPr algn="ctr">
              <a:lnSpc>
                <a:spcPct val="120000"/>
              </a:lnSpc>
              <a:spcAft>
                <a:spcPts val="1200"/>
              </a:spcAft>
              <a:defRPr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1562107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/ chart 2/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513BF868-2674-8347-88DF-930682D7414D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4064000" y="0"/>
            <a:ext cx="8128000" cy="6496050"/>
          </a:xfrm>
          <a:custGeom>
            <a:avLst/>
            <a:gdLst>
              <a:gd name="connsiteX0" fmla="*/ 0 w 8128000"/>
              <a:gd name="connsiteY0" fmla="*/ 0 h 6496050"/>
              <a:gd name="connsiteX1" fmla="*/ 8128000 w 8128000"/>
              <a:gd name="connsiteY1" fmla="*/ 0 h 6496050"/>
              <a:gd name="connsiteX2" fmla="*/ 8128000 w 8128000"/>
              <a:gd name="connsiteY2" fmla="*/ 6496050 h 6496050"/>
              <a:gd name="connsiteX3" fmla="*/ 2284000 w 8128000"/>
              <a:gd name="connsiteY3" fmla="*/ 6496050 h 6496050"/>
              <a:gd name="connsiteX4" fmla="*/ 2032000 w 8128000"/>
              <a:gd name="connsiteY4" fmla="*/ 6244050 h 6496050"/>
              <a:gd name="connsiteX5" fmla="*/ 1780000 w 8128000"/>
              <a:gd name="connsiteY5" fmla="*/ 6496050 h 6496050"/>
              <a:gd name="connsiteX6" fmla="*/ 0 w 8128000"/>
              <a:gd name="connsiteY6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8128000" h="6496050">
                <a:moveTo>
                  <a:pt x="0" y="0"/>
                </a:moveTo>
                <a:lnTo>
                  <a:pt x="8128000" y="0"/>
                </a:lnTo>
                <a:lnTo>
                  <a:pt x="8128000" y="6496050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0" y="6496050"/>
                </a:lnTo>
                <a:close/>
              </a:path>
            </a:pathLst>
          </a:custGeom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pPr lvl="0"/>
            <a:r>
              <a:rPr lang="en-GB"/>
              <a:t>Click to add chart or imag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599"/>
            <a:ext cx="3229316" cy="182721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3229316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18894627-2894-814F-8398-5365941924D8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53720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 userDrawn="1"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4458162"/>
      </p:ext>
    </p:extLst>
  </p:cSld>
  <p:clrMapOvr>
    <a:masterClrMapping/>
  </p:clrMapOvr>
</p:sldLayout>
</file>

<file path=ppt/slideLayouts/slideLayout3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Freeform 21">
            <a:extLst>
              <a:ext uri="{FF2B5EF4-FFF2-40B4-BE49-F238E27FC236}">
                <a16:creationId xmlns:a16="http://schemas.microsoft.com/office/drawing/2014/main" id="{D7245059-C77A-F54C-A53E-4CBA0C853BFB}"/>
              </a:ext>
            </a:extLst>
          </p:cNvPr>
          <p:cNvSpPr/>
          <p:nvPr userDrawn="1"/>
        </p:nvSpPr>
        <p:spPr>
          <a:xfrm>
            <a:off x="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3" name="Freeform 22">
            <a:extLst>
              <a:ext uri="{FF2B5EF4-FFF2-40B4-BE49-F238E27FC236}">
                <a16:creationId xmlns:a16="http://schemas.microsoft.com/office/drawing/2014/main" id="{48DB6C09-42FA-2A46-BC78-D93D37BEBB29}"/>
              </a:ext>
            </a:extLst>
          </p:cNvPr>
          <p:cNvSpPr/>
          <p:nvPr userDrawn="1"/>
        </p:nvSpPr>
        <p:spPr>
          <a:xfrm>
            <a:off x="8127600" y="0"/>
            <a:ext cx="4064400" cy="6498000"/>
          </a:xfrm>
          <a:custGeom>
            <a:avLst/>
            <a:gdLst>
              <a:gd name="connsiteX0" fmla="*/ 0 w 4064400"/>
              <a:gd name="connsiteY0" fmla="*/ 0 h 6498000"/>
              <a:gd name="connsiteX1" fmla="*/ 4064400 w 4064400"/>
              <a:gd name="connsiteY1" fmla="*/ 0 h 6498000"/>
              <a:gd name="connsiteX2" fmla="*/ 4064400 w 4064400"/>
              <a:gd name="connsiteY2" fmla="*/ 6498000 h 6498000"/>
              <a:gd name="connsiteX3" fmla="*/ 0 w 4064400"/>
              <a:gd name="connsiteY3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498000">
                <a:moveTo>
                  <a:pt x="0" y="0"/>
                </a:moveTo>
                <a:lnTo>
                  <a:pt x="4064400" y="0"/>
                </a:lnTo>
                <a:lnTo>
                  <a:pt x="4064400" y="6498000"/>
                </a:lnTo>
                <a:lnTo>
                  <a:pt x="0" y="6498000"/>
                </a:lnTo>
                <a:close/>
              </a:path>
            </a:pathLst>
          </a:custGeom>
          <a:solidFill>
            <a:srgbClr val="EDF2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88BD2C5B-4AEB-2742-96C2-7BBFA14B32F7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064400" y="0"/>
            <a:ext cx="4063200" cy="6498000"/>
          </a:xfrm>
          <a:custGeom>
            <a:avLst/>
            <a:gdLst>
              <a:gd name="connsiteX0" fmla="*/ 0 w 4063200"/>
              <a:gd name="connsiteY0" fmla="*/ 0 h 6498000"/>
              <a:gd name="connsiteX1" fmla="*/ 4063200 w 4063200"/>
              <a:gd name="connsiteY1" fmla="*/ 0 h 6498000"/>
              <a:gd name="connsiteX2" fmla="*/ 4063200 w 4063200"/>
              <a:gd name="connsiteY2" fmla="*/ 6498000 h 6498000"/>
              <a:gd name="connsiteX3" fmla="*/ 2283207 w 4063200"/>
              <a:gd name="connsiteY3" fmla="*/ 6498000 h 6498000"/>
              <a:gd name="connsiteX4" fmla="*/ 2283600 w 4063200"/>
              <a:gd name="connsiteY4" fmla="*/ 6496050 h 6498000"/>
              <a:gd name="connsiteX5" fmla="*/ 2031600 w 4063200"/>
              <a:gd name="connsiteY5" fmla="*/ 6244050 h 6498000"/>
              <a:gd name="connsiteX6" fmla="*/ 1779600 w 4063200"/>
              <a:gd name="connsiteY6" fmla="*/ 6496050 h 6498000"/>
              <a:gd name="connsiteX7" fmla="*/ 1779994 w 4063200"/>
              <a:gd name="connsiteY7" fmla="*/ 6498000 h 6498000"/>
              <a:gd name="connsiteX8" fmla="*/ 0 w 40632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3200" h="6498000">
                <a:moveTo>
                  <a:pt x="0" y="0"/>
                </a:moveTo>
                <a:lnTo>
                  <a:pt x="4063200" y="0"/>
                </a:lnTo>
                <a:lnTo>
                  <a:pt x="4063200" y="6498000"/>
                </a:lnTo>
                <a:lnTo>
                  <a:pt x="2283207" y="6498000"/>
                </a:lnTo>
                <a:lnTo>
                  <a:pt x="2283600" y="6496050"/>
                </a:lnTo>
                <a:cubicBezTo>
                  <a:pt x="2283600" y="6356874"/>
                  <a:pt x="2170776" y="6244050"/>
                  <a:pt x="2031600" y="6244050"/>
                </a:cubicBezTo>
                <a:cubicBezTo>
                  <a:pt x="1892425" y="6244050"/>
                  <a:pt x="1779600" y="6356874"/>
                  <a:pt x="1779600" y="6496050"/>
                </a:cubicBezTo>
                <a:lnTo>
                  <a:pt x="17799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1F44BA-467F-BE4D-A5C2-016062F34C00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137949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1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462AB0BE-6BC7-8849-AB16-35B14C0D9DB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200" y="378763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2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9" name="Text Placeholder 3">
            <a:extLst>
              <a:ext uri="{FF2B5EF4-FFF2-40B4-BE49-F238E27FC236}">
                <a16:creationId xmlns:a16="http://schemas.microsoft.com/office/drawing/2014/main" id="{7B6257F5-DB36-8642-9B67-DCE0EA0BB99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8504959" y="1137949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3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918DF41C-28AB-DF43-913D-52E963D5956C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504959" y="3787631"/>
            <a:ext cx="3189288" cy="2109210"/>
          </a:xfrm>
        </p:spPr>
        <p:txBody>
          <a:bodyPr/>
          <a:lstStyle>
            <a:lvl1pPr algn="ctr">
              <a:lnSpc>
                <a:spcPct val="100000"/>
              </a:lnSpc>
              <a:spcAft>
                <a:spcPts val="0"/>
              </a:spcAft>
              <a:defRPr sz="3200" b="1">
                <a:solidFill>
                  <a:schemeClr val="accent4"/>
                </a:solidFill>
              </a:defRPr>
            </a:lvl1pPr>
            <a:lvl2pPr algn="ctr">
              <a:lnSpc>
                <a:spcPct val="120000"/>
              </a:lnSpc>
              <a:defRPr sz="1600" b="0">
                <a:solidFill>
                  <a:schemeClr val="tx1"/>
                </a:solidFill>
              </a:defRPr>
            </a:lvl2pPr>
          </a:lstStyle>
          <a:p>
            <a:pPr lvl="0"/>
            <a:r>
              <a:rPr lang="en-GB"/>
              <a:t>04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13704956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 / content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" name="Freeform 39">
            <a:extLst>
              <a:ext uri="{FF2B5EF4-FFF2-40B4-BE49-F238E27FC236}">
                <a16:creationId xmlns:a16="http://schemas.microsoft.com/office/drawing/2014/main" id="{D76F5CAF-A32B-7A49-875F-78FB038A9479}"/>
              </a:ext>
            </a:extLst>
          </p:cNvPr>
          <p:cNvSpPr/>
          <p:nvPr userDrawn="1"/>
        </p:nvSpPr>
        <p:spPr>
          <a:xfrm>
            <a:off x="4062000" y="0"/>
            <a:ext cx="4069800" cy="6498000"/>
          </a:xfrm>
          <a:custGeom>
            <a:avLst/>
            <a:gdLst>
              <a:gd name="connsiteX0" fmla="*/ 0 w 4069800"/>
              <a:gd name="connsiteY0" fmla="*/ 0 h 6498000"/>
              <a:gd name="connsiteX1" fmla="*/ 4068000 w 4069800"/>
              <a:gd name="connsiteY1" fmla="*/ 0 h 6498000"/>
              <a:gd name="connsiteX2" fmla="*/ 4068000 w 4069800"/>
              <a:gd name="connsiteY2" fmla="*/ 3429000 h 6498000"/>
              <a:gd name="connsiteX3" fmla="*/ 4069800 w 4069800"/>
              <a:gd name="connsiteY3" fmla="*/ 3429000 h 6498000"/>
              <a:gd name="connsiteX4" fmla="*/ 4069800 w 4069800"/>
              <a:gd name="connsiteY4" fmla="*/ 6498000 h 6498000"/>
              <a:gd name="connsiteX5" fmla="*/ 2287827 w 4069800"/>
              <a:gd name="connsiteY5" fmla="*/ 6498000 h 6498000"/>
              <a:gd name="connsiteX6" fmla="*/ 2288023 w 4069800"/>
              <a:gd name="connsiteY6" fmla="*/ 6496050 h 6498000"/>
              <a:gd name="connsiteX7" fmla="*/ 2035800 w 4069800"/>
              <a:gd name="connsiteY7" fmla="*/ 6244050 h 6498000"/>
              <a:gd name="connsiteX8" fmla="*/ 1783577 w 4069800"/>
              <a:gd name="connsiteY8" fmla="*/ 6496050 h 6498000"/>
              <a:gd name="connsiteX9" fmla="*/ 1783774 w 4069800"/>
              <a:gd name="connsiteY9" fmla="*/ 6498000 h 6498000"/>
              <a:gd name="connsiteX10" fmla="*/ 1800 w 4069800"/>
              <a:gd name="connsiteY10" fmla="*/ 6498000 h 6498000"/>
              <a:gd name="connsiteX11" fmla="*/ 1800 w 4069800"/>
              <a:gd name="connsiteY11" fmla="*/ 3664974 h 6498000"/>
              <a:gd name="connsiteX12" fmla="*/ 0 w 4069800"/>
              <a:gd name="connsiteY12" fmla="*/ 366497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4069800" h="6498000">
                <a:moveTo>
                  <a:pt x="0" y="0"/>
                </a:moveTo>
                <a:lnTo>
                  <a:pt x="4068000" y="0"/>
                </a:lnTo>
                <a:lnTo>
                  <a:pt x="4068000" y="3429000"/>
                </a:lnTo>
                <a:lnTo>
                  <a:pt x="4069800" y="3429000"/>
                </a:lnTo>
                <a:lnTo>
                  <a:pt x="4069800" y="6498000"/>
                </a:lnTo>
                <a:lnTo>
                  <a:pt x="2287827" y="6498000"/>
                </a:lnTo>
                <a:lnTo>
                  <a:pt x="2288023" y="6496050"/>
                </a:lnTo>
                <a:cubicBezTo>
                  <a:pt x="2288023" y="6356874"/>
                  <a:pt x="2175099" y="6244050"/>
                  <a:pt x="2035800" y="6244050"/>
                </a:cubicBezTo>
                <a:cubicBezTo>
                  <a:pt x="1896501" y="6244050"/>
                  <a:pt x="1783577" y="6356874"/>
                  <a:pt x="1783577" y="6496050"/>
                </a:cubicBezTo>
                <a:lnTo>
                  <a:pt x="1783774" y="6498000"/>
                </a:lnTo>
                <a:lnTo>
                  <a:pt x="1800" y="6498000"/>
                </a:lnTo>
                <a:lnTo>
                  <a:pt x="1800" y="3664974"/>
                </a:lnTo>
                <a:lnTo>
                  <a:pt x="0" y="3664974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6928844B-AF4D-EB48-8B2E-034A716B990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4063800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32928" y="609599"/>
            <a:ext cx="3531201" cy="18272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41" name="Content Placeholder 2">
            <a:extLst>
              <a:ext uri="{FF2B5EF4-FFF2-40B4-BE49-F238E27FC236}">
                <a16:creationId xmlns:a16="http://schemas.microsoft.com/office/drawing/2014/main" id="{6F666979-0ECE-B949-BA37-13C1BF6241D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432928" y="2436814"/>
            <a:ext cx="3531201" cy="3811528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11D40DCD-D398-D548-8448-8B145EB231B1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4387351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7176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lternative basic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3218829" cy="2819400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063800" y="3630706"/>
            <a:ext cx="7519866" cy="2617636"/>
          </a:xfrm>
        </p:spPr>
        <p:txBody>
          <a:bodyPr lIns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4441CA21-943D-B645-97F0-BB8576DD65CB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064000" y="0"/>
            <a:ext cx="8128000" cy="3429000"/>
          </a:xfrm>
          <a:solidFill>
            <a:schemeClr val="bg1"/>
          </a:solidFill>
        </p:spPr>
        <p:txBody>
          <a:bodyPr anchor="ctr"/>
          <a:lstStyle>
            <a:lvl1pPr algn="ctr">
              <a:defRPr/>
            </a:lvl1pPr>
          </a:lstStyle>
          <a:p>
            <a:pPr lvl="0"/>
            <a:endParaRPr lang="en-GB"/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6CF37DA7-A225-2D4F-A1D7-48F044F913D0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458007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evices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7" y="2436812"/>
            <a:ext cx="296258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D4B6153B-2D3D-0544-B433-E222C8CF6DE5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528398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9F6A902-93DF-154B-893D-0DF72E27592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062050" y="1422000"/>
            <a:ext cx="6768000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9AB4AE55-198A-9245-9842-304475D18495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062294" y="1712514"/>
            <a:ext cx="6767512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3C95FFF9-8E14-6A49-9689-F0419B544A3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062050" y="5400000"/>
            <a:ext cx="6768000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EC4594DC-56B1-CF41-9D14-1F429D8D888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428050" y="1541493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4B8FE8A3-A2FB-2B45-BB88-4AB826079E8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3962200" y="2150333"/>
            <a:ext cx="1962204" cy="4014000"/>
          </a:xfrm>
          <a:prstGeom prst="round2SameRect">
            <a:avLst>
              <a:gd name="adj1" fmla="val 6156"/>
              <a:gd name="adj2" fmla="val 0"/>
            </a:avLst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Picture Placeholder 10">
            <a:extLst>
              <a:ext uri="{FF2B5EF4-FFF2-40B4-BE49-F238E27FC236}">
                <a16:creationId xmlns:a16="http://schemas.microsoft.com/office/drawing/2014/main" id="{9F22E1CA-D39E-CF4F-8BC3-E45962EB36DC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3962444" y="2440847"/>
            <a:ext cx="1962063" cy="3723486"/>
          </a:xfrm>
          <a:solidFill>
            <a:schemeClr val="bg1">
              <a:lumMod val="8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0515B4EF-4C39-FA47-B386-295D0DE1549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962200" y="6128333"/>
            <a:ext cx="1962204" cy="36000"/>
          </a:xfrm>
          <a:prstGeom prst="rect">
            <a:avLst/>
          </a:prstGeom>
          <a:solidFill>
            <a:schemeClr val="accent4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6" name="Text Placeholder 6">
            <a:extLst>
              <a:ext uri="{FF2B5EF4-FFF2-40B4-BE49-F238E27FC236}">
                <a16:creationId xmlns:a16="http://schemas.microsoft.com/office/drawing/2014/main" id="{E428CB56-8DB8-424F-B8A1-7AD238B12D6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4807103" y="2271316"/>
            <a:ext cx="36000" cy="36000"/>
          </a:xfrm>
          <a:prstGeom prst="ellipse">
            <a:avLst/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7" name="Text Placeholder 6">
            <a:extLst>
              <a:ext uri="{FF2B5EF4-FFF2-40B4-BE49-F238E27FC236}">
                <a16:creationId xmlns:a16="http://schemas.microsoft.com/office/drawing/2014/main" id="{0EECF6EC-E44D-3B4E-832E-79B18420F61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4899178" y="2271316"/>
            <a:ext cx="182876" cy="36000"/>
          </a:xfrm>
          <a:prstGeom prst="roundRect">
            <a:avLst>
              <a:gd name="adj" fmla="val 50000"/>
            </a:avLst>
          </a:prstGeom>
          <a:solidFill>
            <a:schemeClr val="accent5"/>
          </a:solidFill>
        </p:spPr>
        <p:txBody>
          <a:bodyPr anchor="ctr">
            <a:norm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53236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 with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75920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0" name="Text Placeholder 6">
            <a:extLst>
              <a:ext uri="{FF2B5EF4-FFF2-40B4-BE49-F238E27FC236}">
                <a16:creationId xmlns:a16="http://schemas.microsoft.com/office/drawing/2014/main" id="{6FB7A9AC-BCBE-074D-9620-C5FAB2B9DA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337109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71CE8E07-4968-2149-AED9-530684741F0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15014" y="609601"/>
            <a:ext cx="3517784" cy="5325610"/>
          </a:xfrm>
        </p:spPr>
        <p:txBody>
          <a:bodyPr anchor="ctr"/>
          <a:lstStyle>
            <a:lvl1pPr algn="ctr">
              <a:lnSpc>
                <a:spcPct val="80000"/>
              </a:lnSpc>
              <a:defRPr sz="3600" b="1">
                <a:solidFill>
                  <a:schemeClr val="bg1"/>
                </a:solidFill>
              </a:defRPr>
            </a:lvl1pPr>
            <a:lvl2pPr algn="ctr">
              <a:spcAft>
                <a:spcPts val="12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80000"/>
              </a:lnSpc>
              <a:spcAft>
                <a:spcPts val="0"/>
              </a:spcAft>
              <a:buNone/>
              <a:defRPr sz="13800" b="1">
                <a:solidFill>
                  <a:schemeClr val="accent4"/>
                </a:solidFill>
              </a:defRPr>
            </a:lvl3pPr>
            <a:lvl4pPr algn="ctr">
              <a:lnSpc>
                <a:spcPct val="100000"/>
              </a:lnSpc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Big stat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XX</a:t>
            </a:r>
          </a:p>
          <a:p>
            <a:pPr lvl="3"/>
            <a:r>
              <a:rPr lang="en-GB"/>
              <a:t>Fourth level</a:t>
            </a:r>
          </a:p>
        </p:txBody>
      </p:sp>
    </p:spTree>
    <p:extLst>
      <p:ext uri="{BB962C8B-B14F-4D97-AF65-F5344CB8AC3E}">
        <p14:creationId xmlns:p14="http://schemas.microsoft.com/office/powerpoint/2010/main" val="13958679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points with Background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3B46106E-6485-954E-BED7-0B3CFBD389EF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0"/>
            <a:ext cx="12192000" cy="6497638"/>
          </a:xfrm>
          <a:custGeom>
            <a:avLst/>
            <a:gdLst>
              <a:gd name="connsiteX0" fmla="*/ 0 w 12192000"/>
              <a:gd name="connsiteY0" fmla="*/ 0 h 6497638"/>
              <a:gd name="connsiteX1" fmla="*/ 12192000 w 12192000"/>
              <a:gd name="connsiteY1" fmla="*/ 0 h 6497638"/>
              <a:gd name="connsiteX2" fmla="*/ 12192000 w 12192000"/>
              <a:gd name="connsiteY2" fmla="*/ 6497638 h 6497638"/>
              <a:gd name="connsiteX3" fmla="*/ 6347680 w 12192000"/>
              <a:gd name="connsiteY3" fmla="*/ 6497638 h 6497638"/>
              <a:gd name="connsiteX4" fmla="*/ 6348000 w 12192000"/>
              <a:gd name="connsiteY4" fmla="*/ 6496050 h 6497638"/>
              <a:gd name="connsiteX5" fmla="*/ 6096000 w 12192000"/>
              <a:gd name="connsiteY5" fmla="*/ 6244050 h 6497638"/>
              <a:gd name="connsiteX6" fmla="*/ 5844000 w 12192000"/>
              <a:gd name="connsiteY6" fmla="*/ 6496050 h 6497638"/>
              <a:gd name="connsiteX7" fmla="*/ 5844321 w 12192000"/>
              <a:gd name="connsiteY7" fmla="*/ 6497638 h 6497638"/>
              <a:gd name="connsiteX8" fmla="*/ 0 w 12192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7638">
                <a:moveTo>
                  <a:pt x="0" y="0"/>
                </a:moveTo>
                <a:lnTo>
                  <a:pt x="12192000" y="0"/>
                </a:lnTo>
                <a:lnTo>
                  <a:pt x="12192000" y="6497638"/>
                </a:lnTo>
                <a:lnTo>
                  <a:pt x="6347680" y="6497638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5" name="Picture Placeholder 13">
            <a:extLst>
              <a:ext uri="{FF2B5EF4-FFF2-40B4-BE49-F238E27FC236}">
                <a16:creationId xmlns:a16="http://schemas.microsoft.com/office/drawing/2014/main" id="{59DACD9E-3955-7B45-96B2-7D8BE4726AFE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0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9" name="Picture Placeholder 18">
            <a:extLst>
              <a:ext uri="{FF2B5EF4-FFF2-40B4-BE49-F238E27FC236}">
                <a16:creationId xmlns:a16="http://schemas.microsoft.com/office/drawing/2014/main" id="{6750970C-3138-B24B-B5BE-424C94FFCB1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7" name="Picture Placeholder 13">
            <a:extLst>
              <a:ext uri="{FF2B5EF4-FFF2-40B4-BE49-F238E27FC236}">
                <a16:creationId xmlns:a16="http://schemas.microsoft.com/office/drawing/2014/main" id="{947B9FEA-9C3C-8144-BBAC-02AAECE365E0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C4643645-909A-E64C-AECF-FF8D2549E9E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13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C905D865-DB29-824B-83F4-98D1B8D13DE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9" name="Text Placeholder 6">
            <a:extLst>
              <a:ext uri="{FF2B5EF4-FFF2-40B4-BE49-F238E27FC236}">
                <a16:creationId xmlns:a16="http://schemas.microsoft.com/office/drawing/2014/main" id="{08685FA2-5439-8249-9C6F-580A601085E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2918577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2 callouts with imager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2305D707-B941-E742-B3A1-EC33D25DD37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4064000" y="1"/>
            <a:ext cx="4064000" cy="6497999"/>
          </a:xfrm>
          <a:custGeom>
            <a:avLst/>
            <a:gdLst>
              <a:gd name="connsiteX0" fmla="*/ 0 w 4064000"/>
              <a:gd name="connsiteY0" fmla="*/ 0 h 6497999"/>
              <a:gd name="connsiteX1" fmla="*/ 4064000 w 4064000"/>
              <a:gd name="connsiteY1" fmla="*/ 0 h 6497999"/>
              <a:gd name="connsiteX2" fmla="*/ 4064000 w 4064000"/>
              <a:gd name="connsiteY2" fmla="*/ 6497999 h 6497999"/>
              <a:gd name="connsiteX3" fmla="*/ 2283804 w 4064000"/>
              <a:gd name="connsiteY3" fmla="*/ 6497999 h 6497999"/>
              <a:gd name="connsiteX4" fmla="*/ 2284000 w 4064000"/>
              <a:gd name="connsiteY4" fmla="*/ 6496049 h 6497999"/>
              <a:gd name="connsiteX5" fmla="*/ 2032000 w 4064000"/>
              <a:gd name="connsiteY5" fmla="*/ 6244049 h 6497999"/>
              <a:gd name="connsiteX6" fmla="*/ 1780000 w 4064000"/>
              <a:gd name="connsiteY6" fmla="*/ 6496049 h 6497999"/>
              <a:gd name="connsiteX7" fmla="*/ 1780197 w 4064000"/>
              <a:gd name="connsiteY7" fmla="*/ 6497999 h 6497999"/>
              <a:gd name="connsiteX8" fmla="*/ 0 w 4064000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4064000" h="6497999">
                <a:moveTo>
                  <a:pt x="0" y="0"/>
                </a:moveTo>
                <a:lnTo>
                  <a:pt x="4064000" y="0"/>
                </a:lnTo>
                <a:lnTo>
                  <a:pt x="4064000" y="6497999"/>
                </a:lnTo>
                <a:lnTo>
                  <a:pt x="2283804" y="6497999"/>
                </a:lnTo>
                <a:lnTo>
                  <a:pt x="2284000" y="6496049"/>
                </a:lnTo>
                <a:cubicBezTo>
                  <a:pt x="2284000" y="6356873"/>
                  <a:pt x="2171176" y="6244049"/>
                  <a:pt x="2032000" y="6244049"/>
                </a:cubicBezTo>
                <a:cubicBezTo>
                  <a:pt x="1892824" y="6244049"/>
                  <a:pt x="1780000" y="6356873"/>
                  <a:pt x="1780000" y="6496049"/>
                </a:cubicBezTo>
                <a:lnTo>
                  <a:pt x="1780197" y="6497999"/>
                </a:lnTo>
                <a:lnTo>
                  <a:pt x="0" y="6497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2" name="Picture Placeholder 13">
            <a:extLst>
              <a:ext uri="{FF2B5EF4-FFF2-40B4-BE49-F238E27FC236}">
                <a16:creationId xmlns:a16="http://schemas.microsoft.com/office/drawing/2014/main" id="{F1958CA4-4DE3-104F-87CF-B9883AE13727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117178" y="1"/>
            <a:ext cx="4074822" cy="6497999"/>
          </a:xfrm>
          <a:custGeom>
            <a:avLst/>
            <a:gdLst>
              <a:gd name="connsiteX0" fmla="*/ 0 w 12192000"/>
              <a:gd name="connsiteY0" fmla="*/ 0 h 3428999"/>
              <a:gd name="connsiteX1" fmla="*/ 12192000 w 12192000"/>
              <a:gd name="connsiteY1" fmla="*/ 0 h 3428999"/>
              <a:gd name="connsiteX2" fmla="*/ 12192000 w 12192000"/>
              <a:gd name="connsiteY2" fmla="*/ 3428999 h 3428999"/>
              <a:gd name="connsiteX3" fmla="*/ 0 w 12192000"/>
              <a:gd name="connsiteY3" fmla="*/ 3428999 h 3428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2192000" h="3428999">
                <a:moveTo>
                  <a:pt x="0" y="0"/>
                </a:moveTo>
                <a:lnTo>
                  <a:pt x="12192000" y="0"/>
                </a:lnTo>
                <a:lnTo>
                  <a:pt x="12192000" y="3428999"/>
                </a:lnTo>
                <a:lnTo>
                  <a:pt x="0" y="3428999"/>
                </a:lnTo>
                <a:close/>
              </a:path>
            </a:pathLst>
          </a:custGeom>
          <a:noFill/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DF8530DE-535A-084C-8B5E-A85ECC159CD3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064000" y="0"/>
            <a:ext cx="8128000" cy="6497638"/>
          </a:xfrm>
          <a:custGeom>
            <a:avLst/>
            <a:gdLst>
              <a:gd name="connsiteX0" fmla="*/ 0 w 8128000"/>
              <a:gd name="connsiteY0" fmla="*/ 0 h 6497638"/>
              <a:gd name="connsiteX1" fmla="*/ 8128000 w 8128000"/>
              <a:gd name="connsiteY1" fmla="*/ 0 h 6497638"/>
              <a:gd name="connsiteX2" fmla="*/ 8128000 w 8128000"/>
              <a:gd name="connsiteY2" fmla="*/ 6497638 h 6497638"/>
              <a:gd name="connsiteX3" fmla="*/ 2283680 w 8128000"/>
              <a:gd name="connsiteY3" fmla="*/ 6497638 h 6497638"/>
              <a:gd name="connsiteX4" fmla="*/ 2284000 w 8128000"/>
              <a:gd name="connsiteY4" fmla="*/ 6496050 h 6497638"/>
              <a:gd name="connsiteX5" fmla="*/ 2032000 w 8128000"/>
              <a:gd name="connsiteY5" fmla="*/ 6244050 h 6497638"/>
              <a:gd name="connsiteX6" fmla="*/ 1780000 w 8128000"/>
              <a:gd name="connsiteY6" fmla="*/ 6496050 h 6497638"/>
              <a:gd name="connsiteX7" fmla="*/ 1780321 w 8128000"/>
              <a:gd name="connsiteY7" fmla="*/ 6497638 h 6497638"/>
              <a:gd name="connsiteX8" fmla="*/ 0 w 8128000"/>
              <a:gd name="connsiteY8" fmla="*/ 6497638 h 64976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8128000" h="6497638">
                <a:moveTo>
                  <a:pt x="0" y="0"/>
                </a:moveTo>
                <a:lnTo>
                  <a:pt x="8128000" y="0"/>
                </a:lnTo>
                <a:lnTo>
                  <a:pt x="8128000" y="6497638"/>
                </a:lnTo>
                <a:lnTo>
                  <a:pt x="2283680" y="6497638"/>
                </a:lnTo>
                <a:lnTo>
                  <a:pt x="2284000" y="6496050"/>
                </a:lnTo>
                <a:cubicBezTo>
                  <a:pt x="2284000" y="6356874"/>
                  <a:pt x="2171176" y="6244050"/>
                  <a:pt x="2032000" y="6244050"/>
                </a:cubicBezTo>
                <a:cubicBezTo>
                  <a:pt x="1892825" y="6244050"/>
                  <a:pt x="1780000" y="6356874"/>
                  <a:pt x="1780000" y="6496050"/>
                </a:cubicBezTo>
                <a:lnTo>
                  <a:pt x="1780321" y="6497638"/>
                </a:lnTo>
                <a:lnTo>
                  <a:pt x="0" y="6497638"/>
                </a:lnTo>
                <a:close/>
              </a:path>
            </a:pathLst>
          </a:custGeom>
          <a:gradFill>
            <a:gsLst>
              <a:gs pos="0">
                <a:srgbClr val="2B2D42">
                  <a:alpha val="19000"/>
                </a:srgbClr>
              </a:gs>
              <a:gs pos="100000">
                <a:srgbClr val="2B2D42"/>
              </a:gs>
            </a:gsLst>
            <a:lin ang="5400000" scaled="1"/>
          </a:gra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2436813"/>
            <a:ext cx="3023302" cy="349839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9" name="Text Placeholder 13">
            <a:extLst>
              <a:ext uri="{FF2B5EF4-FFF2-40B4-BE49-F238E27FC236}">
                <a16:creationId xmlns:a16="http://schemas.microsoft.com/office/drawing/2014/main" id="{C04E660C-1DCC-914B-9017-655D35200AB9}"/>
              </a:ext>
            </a:extLst>
          </p:cNvPr>
          <p:cNvSpPr>
            <a:spLocks noGrp="1" noChangeAspect="1"/>
          </p:cNvSpPr>
          <p:nvPr>
            <p:ph type="body" sz="quarter" idx="13"/>
          </p:nvPr>
        </p:nvSpPr>
        <p:spPr>
          <a:xfrm>
            <a:off x="563497" y="2355611"/>
            <a:ext cx="208800" cy="208800"/>
          </a:xfrm>
          <a:custGeom>
            <a:avLst/>
            <a:gdLst>
              <a:gd name="connsiteX0" fmla="*/ 201224 w 1820600"/>
              <a:gd name="connsiteY0" fmla="*/ 0 h 1820600"/>
              <a:gd name="connsiteX1" fmla="*/ 1619376 w 1820600"/>
              <a:gd name="connsiteY1" fmla="*/ 0 h 1820600"/>
              <a:gd name="connsiteX2" fmla="*/ 1820600 w 1820600"/>
              <a:gd name="connsiteY2" fmla="*/ 201224 h 1820600"/>
              <a:gd name="connsiteX3" fmla="*/ 1619376 w 1820600"/>
              <a:gd name="connsiteY3" fmla="*/ 402448 h 1820600"/>
              <a:gd name="connsiteX4" fmla="*/ 402448 w 1820600"/>
              <a:gd name="connsiteY4" fmla="*/ 402448 h 1820600"/>
              <a:gd name="connsiteX5" fmla="*/ 402448 w 1820600"/>
              <a:gd name="connsiteY5" fmla="*/ 1619376 h 1820600"/>
              <a:gd name="connsiteX6" fmla="*/ 201224 w 1820600"/>
              <a:gd name="connsiteY6" fmla="*/ 1820600 h 1820600"/>
              <a:gd name="connsiteX7" fmla="*/ 0 w 1820600"/>
              <a:gd name="connsiteY7" fmla="*/ 1619376 h 1820600"/>
              <a:gd name="connsiteX8" fmla="*/ 0 w 1820600"/>
              <a:gd name="connsiteY8" fmla="*/ 201224 h 1820600"/>
              <a:gd name="connsiteX9" fmla="*/ 201224 w 1820600"/>
              <a:gd name="connsiteY9" fmla="*/ 0 h 18206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820600" h="1820600">
                <a:moveTo>
                  <a:pt x="201224" y="0"/>
                </a:moveTo>
                <a:lnTo>
                  <a:pt x="1619376" y="0"/>
                </a:lnTo>
                <a:cubicBezTo>
                  <a:pt x="1730543" y="0"/>
                  <a:pt x="1820600" y="90056"/>
                  <a:pt x="1820600" y="201224"/>
                </a:cubicBezTo>
                <a:cubicBezTo>
                  <a:pt x="1820600" y="312392"/>
                  <a:pt x="1730543" y="402448"/>
                  <a:pt x="1619376" y="402448"/>
                </a:cubicBezTo>
                <a:lnTo>
                  <a:pt x="402448" y="402448"/>
                </a:lnTo>
                <a:lnTo>
                  <a:pt x="402448" y="1619376"/>
                </a:lnTo>
                <a:cubicBezTo>
                  <a:pt x="402448" y="1730543"/>
                  <a:pt x="312392" y="1820600"/>
                  <a:pt x="201224" y="1820600"/>
                </a:cubicBezTo>
                <a:cubicBezTo>
                  <a:pt x="90056" y="1820600"/>
                  <a:pt x="0" y="1730543"/>
                  <a:pt x="0" y="1619376"/>
                </a:cubicBezTo>
                <a:lnTo>
                  <a:pt x="0" y="201224"/>
                </a:lnTo>
                <a:cubicBezTo>
                  <a:pt x="0" y="90056"/>
                  <a:pt x="90056" y="0"/>
                  <a:pt x="201224" y="0"/>
                </a:cubicBezTo>
                <a:close/>
              </a:path>
            </a:pathLst>
          </a:custGeom>
          <a:solidFill>
            <a:schemeClr val="bg2"/>
          </a:solidFill>
        </p:spPr>
        <p:txBody>
          <a:bodyPr wrap="square" anchor="ctr">
            <a:noAutofit/>
          </a:bodyPr>
          <a:lstStyle>
            <a:lvl1pPr algn="ctr">
              <a:defRPr sz="100">
                <a:noFill/>
              </a:defRPr>
            </a:lvl1pPr>
          </a:lstStyle>
          <a:p>
            <a:pPr lvl="0"/>
            <a:endParaRPr lang="en-GB"/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7B439116-0AC7-6E49-9EE3-FFE1BD1C3F0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577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15" name="Text Placeholder 6">
            <a:extLst>
              <a:ext uri="{FF2B5EF4-FFF2-40B4-BE49-F238E27FC236}">
                <a16:creationId xmlns:a16="http://schemas.microsoft.com/office/drawing/2014/main" id="{CA3AD4B1-EF8E-F84F-8EB4-0633A7A5096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641750" y="2283295"/>
            <a:ext cx="3036500" cy="3651916"/>
          </a:xfrm>
        </p:spPr>
        <p:txBody>
          <a:bodyPr anchor="t"/>
          <a:lstStyle>
            <a:lvl1pPr algn="ctr">
              <a:lnSpc>
                <a:spcPct val="90000"/>
              </a:lnSpc>
              <a:spcAft>
                <a:spcPts val="600"/>
              </a:spcAft>
              <a:defRPr sz="6000" b="1">
                <a:solidFill>
                  <a:schemeClr val="accent4"/>
                </a:solidFill>
              </a:defRPr>
            </a:lvl1pPr>
            <a:lvl2pPr algn="ctr">
              <a:lnSpc>
                <a:spcPct val="90000"/>
              </a:lnSpc>
              <a:spcAft>
                <a:spcPts val="600"/>
              </a:spcAft>
              <a:defRPr sz="1600" b="0">
                <a:solidFill>
                  <a:schemeClr val="bg1"/>
                </a:solidFill>
              </a:defRPr>
            </a:lvl2pPr>
            <a:lvl3pPr marL="0" indent="0" algn="ctr">
              <a:lnSpc>
                <a:spcPct val="90000"/>
              </a:lnSpc>
              <a:spcAft>
                <a:spcPts val="600"/>
              </a:spcAft>
              <a:buNone/>
              <a:defRPr sz="1800" b="1">
                <a:solidFill>
                  <a:schemeClr val="bg2"/>
                </a:solidFill>
              </a:defRPr>
            </a:lvl3pPr>
            <a:lvl4pPr algn="ctr">
              <a:lnSpc>
                <a:spcPct val="90000"/>
              </a:lnSpc>
              <a:spcAft>
                <a:spcPts val="600"/>
              </a:spcAft>
              <a:defRPr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3255478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.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>
          <a:xfrm>
            <a:off x="981949" y="181938"/>
            <a:ext cx="10799867" cy="864000"/>
          </a:xfrm>
        </p:spPr>
        <p:txBody>
          <a:bodyPr/>
          <a:lstStyle>
            <a:lvl1pPr>
              <a:defRPr>
                <a:latin typeface="+mj-lt"/>
                <a:sym typeface="Trebuchet MS" panose="020B0603020202020204" pitchFamily="34" charset="0"/>
              </a:defRPr>
            </a:lvl1pPr>
          </a:lstStyle>
          <a:p>
            <a:r>
              <a:rPr lang="en-US"/>
              <a:t>Click to add title</a:t>
            </a:r>
          </a:p>
        </p:txBody>
      </p:sp>
      <p:sp>
        <p:nvSpPr>
          <p:cNvPr id="12" name="TextBox 11"/>
          <p:cNvSpPr txBox="1"/>
          <p:nvPr userDrawn="1"/>
        </p:nvSpPr>
        <p:spPr bwMode="gray">
          <a:xfrm>
            <a:off x="195870" y="6617933"/>
            <a:ext cx="392377" cy="1080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defPPr>
              <a:defRPr lang="de-DE"/>
            </a:defPPr>
            <a:lvl1pPr lvl="0" indent="0" algn="ctr">
              <a:defRPr sz="700">
                <a:solidFill>
                  <a:schemeClr val="accent2"/>
                </a:solidFill>
              </a:defRPr>
            </a:lvl1pPr>
            <a:lvl2pPr marL="0" indent="0" algn="ctr">
              <a:defRPr sz="700">
                <a:solidFill>
                  <a:schemeClr val="accent2"/>
                </a:solidFill>
              </a:defRPr>
            </a:lvl2pPr>
            <a:lvl3pPr marL="0" indent="0" algn="ctr">
              <a:defRPr sz="700">
                <a:solidFill>
                  <a:schemeClr val="accent2"/>
                </a:solidFill>
              </a:defRPr>
            </a:lvl3pPr>
            <a:lvl4pPr marL="0" indent="0" algn="ctr">
              <a:defRPr sz="700">
                <a:solidFill>
                  <a:schemeClr val="accent2"/>
                </a:solidFill>
              </a:defRPr>
            </a:lvl4pPr>
            <a:lvl5pPr marL="0" indent="0" algn="ctr">
              <a:defRPr sz="700">
                <a:solidFill>
                  <a:schemeClr val="accent2"/>
                </a:solidFill>
              </a:defRPr>
            </a:lvl5pPr>
            <a:lvl6pPr marL="0" indent="0" algn="ctr">
              <a:defRPr sz="700">
                <a:solidFill>
                  <a:schemeClr val="accent2"/>
                </a:solidFill>
              </a:defRPr>
            </a:lvl6pPr>
            <a:lvl7pPr marL="0" indent="0" algn="ctr">
              <a:defRPr sz="700">
                <a:solidFill>
                  <a:schemeClr val="accent2"/>
                </a:solidFill>
              </a:defRPr>
            </a:lvl7pPr>
            <a:lvl8pPr marL="0" indent="0" algn="ctr">
              <a:defRPr sz="700">
                <a:solidFill>
                  <a:schemeClr val="accent2"/>
                </a:solidFill>
              </a:defRPr>
            </a:lvl8pPr>
            <a:lvl9pPr marL="0" indent="0" algn="ctr">
              <a:defRPr sz="700">
                <a:solidFill>
                  <a:schemeClr val="accent2"/>
                </a:solidFill>
              </a:defRPr>
            </a:lvl9pPr>
          </a:lstStyle>
          <a:p>
            <a:pPr marL="0" lvl="0" indent="0">
              <a:buSzPts val="700"/>
            </a:pPr>
            <a:fld id="{EEAD9179-7A6B-4268-BEB2-F3B8EB06115B}" type="slidenum">
              <a:rPr lang="en-US" sz="700" noProof="0" smtClean="0"/>
              <a:pPr marL="0" lvl="0" indent="0">
                <a:buSzPts val="700"/>
              </a:pPr>
              <a:t>‹Nº›</a:t>
            </a:fld>
            <a:endParaRPr lang="en-US" sz="700"/>
          </a:p>
        </p:txBody>
      </p:sp>
      <p:pic>
        <p:nvPicPr>
          <p:cNvPr id="13" name="Picture 12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4425" y="615600"/>
            <a:ext cx="399652" cy="399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2988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43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47720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8458011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reak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>
            <a:extLst>
              <a:ext uri="{FF2B5EF4-FFF2-40B4-BE49-F238E27FC236}">
                <a16:creationId xmlns:a16="http://schemas.microsoft.com/office/drawing/2014/main" id="{18752497-0F11-A148-BE64-4764721D9502}"/>
              </a:ext>
            </a:extLst>
          </p:cNvPr>
          <p:cNvGrpSpPr/>
          <p:nvPr/>
        </p:nvGrpSpPr>
        <p:grpSpPr>
          <a:xfrm>
            <a:off x="-8238" y="609600"/>
            <a:ext cx="6245994" cy="5635625"/>
            <a:chOff x="-8238" y="355600"/>
            <a:chExt cx="6815438" cy="6149422"/>
          </a:xfrm>
        </p:grpSpPr>
        <p:sp>
          <p:nvSpPr>
            <p:cNvPr id="8" name="Freeform 7">
              <a:extLst>
                <a:ext uri="{FF2B5EF4-FFF2-40B4-BE49-F238E27FC236}">
                  <a16:creationId xmlns:a16="http://schemas.microsoft.com/office/drawing/2014/main" id="{26968DDD-2381-424F-9723-F5F32594F556}"/>
                </a:ext>
              </a:extLst>
            </p:cNvPr>
            <p:cNvSpPr/>
            <p:nvPr/>
          </p:nvSpPr>
          <p:spPr>
            <a:xfrm>
              <a:off x="-8238" y="355600"/>
              <a:ext cx="6815438" cy="6149422"/>
            </a:xfrm>
            <a:custGeom>
              <a:avLst/>
              <a:gdLst>
                <a:gd name="connsiteX0" fmla="*/ 0 w 6815438"/>
                <a:gd name="connsiteY0" fmla="*/ 0 h 6149422"/>
                <a:gd name="connsiteX1" fmla="*/ 6815438 w 6815438"/>
                <a:gd name="connsiteY1" fmla="*/ 0 h 6149422"/>
                <a:gd name="connsiteX2" fmla="*/ 5278083 w 6815438"/>
                <a:gd name="connsiteY2" fmla="*/ 6149422 h 6149422"/>
                <a:gd name="connsiteX3" fmla="*/ 0 w 6815438"/>
                <a:gd name="connsiteY3" fmla="*/ 6149422 h 6149422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815438" h="6149422">
                  <a:moveTo>
                    <a:pt x="0" y="0"/>
                  </a:moveTo>
                  <a:lnTo>
                    <a:pt x="6815438" y="0"/>
                  </a:lnTo>
                  <a:lnTo>
                    <a:pt x="5278083" y="6149422"/>
                  </a:lnTo>
                  <a:lnTo>
                    <a:pt x="0" y="6149422"/>
                  </a:lnTo>
                  <a:close/>
                </a:path>
              </a:pathLst>
            </a:cu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26C0937F-23EA-194F-8642-BEB28670398B}"/>
                </a:ext>
              </a:extLst>
            </p:cNvPr>
            <p:cNvSpPr/>
            <p:nvPr/>
          </p:nvSpPr>
          <p:spPr>
            <a:xfrm>
              <a:off x="-8238" y="6327405"/>
              <a:ext cx="5326364" cy="177617"/>
            </a:xfrm>
            <a:custGeom>
              <a:avLst/>
              <a:gdLst>
                <a:gd name="connsiteX0" fmla="*/ 0 w 5326364"/>
                <a:gd name="connsiteY0" fmla="*/ 0 h 177617"/>
                <a:gd name="connsiteX1" fmla="*/ 5326364 w 5326364"/>
                <a:gd name="connsiteY1" fmla="*/ 0 h 177617"/>
                <a:gd name="connsiteX2" fmla="*/ 5281960 w 5326364"/>
                <a:gd name="connsiteY2" fmla="*/ 177617 h 177617"/>
                <a:gd name="connsiteX3" fmla="*/ 0 w 5326364"/>
                <a:gd name="connsiteY3" fmla="*/ 177617 h 17761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5326364" h="177617">
                  <a:moveTo>
                    <a:pt x="0" y="0"/>
                  </a:moveTo>
                  <a:lnTo>
                    <a:pt x="5326364" y="0"/>
                  </a:lnTo>
                  <a:lnTo>
                    <a:pt x="5281960" y="177617"/>
                  </a:lnTo>
                  <a:lnTo>
                    <a:pt x="0" y="177617"/>
                  </a:lnTo>
                  <a:close/>
                </a:path>
              </a:pathLst>
            </a:cu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/>
            <a:p>
              <a:pPr algn="ctr"/>
              <a:endParaRPr lang="en-US"/>
            </a:p>
          </p:txBody>
        </p:sp>
      </p:grp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5518AE9-A1AC-884F-94E4-FD7CF5C5894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804863" y="4261866"/>
            <a:ext cx="4023169" cy="1379538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Section Title </a:t>
            </a:r>
            <a:br>
              <a:rPr lang="en-GB"/>
            </a:br>
            <a:r>
              <a:rPr lang="en-GB"/>
              <a:t>Goes Here</a:t>
            </a:r>
            <a:endParaRPr lang="en-US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51C856C7-5A9E-5B4F-8F15-13A5000A0696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0 w 12192000"/>
              <a:gd name="connsiteY3" fmla="*/ 6858000 h 6858000"/>
              <a:gd name="connsiteX4" fmla="*/ 0 w 12192000"/>
              <a:gd name="connsiteY4" fmla="*/ 6245225 h 6858000"/>
              <a:gd name="connsiteX5" fmla="*/ 4837088 w 12192000"/>
              <a:gd name="connsiteY5" fmla="*/ 6245225 h 6858000"/>
              <a:gd name="connsiteX6" fmla="*/ 6245994 w 12192000"/>
              <a:gd name="connsiteY6" fmla="*/ 609600 h 6858000"/>
              <a:gd name="connsiteX7" fmla="*/ 0 w 12192000"/>
              <a:gd name="connsiteY7" fmla="*/ 6096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6245225"/>
                </a:lnTo>
                <a:lnTo>
                  <a:pt x="4837088" y="6245225"/>
                </a:lnTo>
                <a:lnTo>
                  <a:pt x="6245994" y="609600"/>
                </a:lnTo>
                <a:lnTo>
                  <a:pt x="0" y="6096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F6748681-CB1E-D146-9743-66693C1EA6DC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92727" y="887413"/>
            <a:ext cx="4655128" cy="2922587"/>
          </a:xfrm>
        </p:spPr>
        <p:txBody>
          <a:bodyPr anchor="ctr">
            <a:noAutofit/>
          </a:bodyPr>
          <a:lstStyle>
            <a:lvl1pPr>
              <a:defRPr sz="30000" b="1">
                <a:gradFill>
                  <a:gsLst>
                    <a:gs pos="12000">
                      <a:schemeClr val="accent2"/>
                    </a:gs>
                    <a:gs pos="93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GB"/>
              <a:t>00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683954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 userDrawn="1"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 userDrawn="1"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66716057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 userDrawn="1"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148077757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1931116540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ot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104900" y="1363980"/>
            <a:ext cx="10043159" cy="4130040"/>
          </a:xfrm>
          <a:prstGeom prst="parallelogram">
            <a:avLst/>
          </a:prstGeom>
          <a:solidFill>
            <a:schemeClr val="tx1"/>
          </a:solidFill>
        </p:spPr>
        <p:txBody>
          <a:bodyPr anchor="ctr"/>
          <a:lstStyle>
            <a:lvl1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bg1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bg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bg1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3239619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075D72E6-9411-1B4C-81D0-42BD2EE8C246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174875" y="5119050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7DC2C98D-EEE6-244E-B9DD-32C94FB0924D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174875" y="1662666"/>
            <a:ext cx="7839075" cy="97905"/>
          </a:xfr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anchor="ctr">
            <a:normAutofit/>
          </a:bodyPr>
          <a:lstStyle>
            <a:lvl1pPr algn="ctr">
              <a:defRPr sz="100">
                <a:gradFill>
                  <a:gsLst>
                    <a:gs pos="0">
                      <a:schemeClr val="accent2"/>
                    </a:gs>
                    <a:gs pos="100000">
                      <a:schemeClr val="accent3"/>
                    </a:gs>
                  </a:gsLst>
                  <a:lin ang="0" scaled="1"/>
                </a:gradFill>
              </a:defRPr>
            </a:lvl1pPr>
          </a:lstStyle>
          <a:p>
            <a:pPr lvl="0"/>
            <a:r>
              <a:rPr lang="en-US"/>
              <a:t>  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79E8BC8-E37D-DC43-B023-CA84A9CACB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590550" y="2866232"/>
            <a:ext cx="10761663" cy="1125537"/>
          </a:xfrm>
        </p:spPr>
        <p:txBody>
          <a:bodyPr anchor="ctr">
            <a:normAutofit/>
          </a:bodyPr>
          <a:lstStyle>
            <a:lvl1pPr algn="ctr">
              <a:defRPr sz="5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Statement Goes Here</a:t>
            </a:r>
          </a:p>
        </p:txBody>
      </p:sp>
    </p:spTree>
    <p:extLst>
      <p:ext uri="{BB962C8B-B14F-4D97-AF65-F5344CB8AC3E}">
        <p14:creationId xmlns:p14="http://schemas.microsoft.com/office/powerpoint/2010/main" val="3001709670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Poin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10">
            <a:extLst>
              <a:ext uri="{FF2B5EF4-FFF2-40B4-BE49-F238E27FC236}">
                <a16:creationId xmlns:a16="http://schemas.microsoft.com/office/drawing/2014/main" id="{2B3D909E-AE1D-A047-A25D-B929C7CBC73C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498000"/>
          </a:xfrm>
          <a:custGeom>
            <a:avLst/>
            <a:gdLst>
              <a:gd name="connsiteX0" fmla="*/ 0 w 12192000"/>
              <a:gd name="connsiteY0" fmla="*/ 0 h 6498000"/>
              <a:gd name="connsiteX1" fmla="*/ 12192000 w 12192000"/>
              <a:gd name="connsiteY1" fmla="*/ 0 h 6498000"/>
              <a:gd name="connsiteX2" fmla="*/ 12192000 w 12192000"/>
              <a:gd name="connsiteY2" fmla="*/ 6498000 h 6498000"/>
              <a:gd name="connsiteX3" fmla="*/ 6347607 w 12192000"/>
              <a:gd name="connsiteY3" fmla="*/ 6498000 h 6498000"/>
              <a:gd name="connsiteX4" fmla="*/ 6348000 w 12192000"/>
              <a:gd name="connsiteY4" fmla="*/ 6496050 h 6498000"/>
              <a:gd name="connsiteX5" fmla="*/ 6096000 w 12192000"/>
              <a:gd name="connsiteY5" fmla="*/ 6244050 h 6498000"/>
              <a:gd name="connsiteX6" fmla="*/ 5844000 w 12192000"/>
              <a:gd name="connsiteY6" fmla="*/ 6496050 h 6498000"/>
              <a:gd name="connsiteX7" fmla="*/ 5844394 w 12192000"/>
              <a:gd name="connsiteY7" fmla="*/ 6498000 h 6498000"/>
              <a:gd name="connsiteX8" fmla="*/ 0 w 12192000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12192000" h="6498000">
                <a:moveTo>
                  <a:pt x="0" y="0"/>
                </a:moveTo>
                <a:lnTo>
                  <a:pt x="12192000" y="0"/>
                </a:lnTo>
                <a:lnTo>
                  <a:pt x="12192000" y="6498000"/>
                </a:lnTo>
                <a:lnTo>
                  <a:pt x="6347607" y="6498000"/>
                </a:lnTo>
                <a:lnTo>
                  <a:pt x="6348000" y="6496050"/>
                </a:lnTo>
                <a:cubicBezTo>
                  <a:pt x="6348000" y="6356874"/>
                  <a:pt x="6235176" y="6244050"/>
                  <a:pt x="6096000" y="6244050"/>
                </a:cubicBezTo>
                <a:cubicBezTo>
                  <a:pt x="5956825" y="6244050"/>
                  <a:pt x="5844000" y="6356874"/>
                  <a:pt x="5844000" y="6496050"/>
                </a:cubicBezTo>
                <a:lnTo>
                  <a:pt x="584439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l">
              <a:defRPr/>
            </a:lvl1pPr>
          </a:lstStyle>
          <a:p>
            <a:endParaRPr lang="en-GB"/>
          </a:p>
        </p:txBody>
      </p:sp>
      <p:sp>
        <p:nvSpPr>
          <p:cNvPr id="39" name="Content Placeholder 2">
            <a:extLst>
              <a:ext uri="{FF2B5EF4-FFF2-40B4-BE49-F238E27FC236}">
                <a16:creationId xmlns:a16="http://schemas.microsoft.com/office/drawing/2014/main" id="{6F586F69-3533-5F4F-85BF-457BB915F94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652329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3" name="Content Placeholder 52">
            <a:extLst>
              <a:ext uri="{FF2B5EF4-FFF2-40B4-BE49-F238E27FC236}">
                <a16:creationId xmlns:a16="http://schemas.microsoft.com/office/drawing/2014/main" id="{C27B8D16-878E-594C-BA9E-010EE25E648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17264" y="5301208"/>
            <a:ext cx="10452445" cy="195352"/>
          </a:xfrm>
          <a:custGeom>
            <a:avLst/>
            <a:gdLst>
              <a:gd name="connsiteX0" fmla="*/ 7110414 w 10452445"/>
              <a:gd name="connsiteY0" fmla="*/ 0 h 195352"/>
              <a:gd name="connsiteX1" fmla="*/ 10452445 w 10452445"/>
              <a:gd name="connsiteY1" fmla="*/ 0 h 195352"/>
              <a:gd name="connsiteX2" fmla="*/ 10421154 w 10452445"/>
              <a:gd name="connsiteY2" fmla="*/ 195352 h 195352"/>
              <a:gd name="connsiteX3" fmla="*/ 7079123 w 10452445"/>
              <a:gd name="connsiteY3" fmla="*/ 195352 h 195352"/>
              <a:gd name="connsiteX4" fmla="*/ 3577116 w 10452445"/>
              <a:gd name="connsiteY4" fmla="*/ 0 h 195352"/>
              <a:gd name="connsiteX5" fmla="*/ 6919147 w 10452445"/>
              <a:gd name="connsiteY5" fmla="*/ 0 h 195352"/>
              <a:gd name="connsiteX6" fmla="*/ 6887856 w 10452445"/>
              <a:gd name="connsiteY6" fmla="*/ 195352 h 195352"/>
              <a:gd name="connsiteX7" fmla="*/ 3545825 w 10452445"/>
              <a:gd name="connsiteY7" fmla="*/ 195352 h 195352"/>
              <a:gd name="connsiteX8" fmla="*/ 31291 w 10452445"/>
              <a:gd name="connsiteY8" fmla="*/ 0 h 195352"/>
              <a:gd name="connsiteX9" fmla="*/ 3373323 w 10452445"/>
              <a:gd name="connsiteY9" fmla="*/ 0 h 195352"/>
              <a:gd name="connsiteX10" fmla="*/ 3342031 w 10452445"/>
              <a:gd name="connsiteY10" fmla="*/ 195352 h 195352"/>
              <a:gd name="connsiteX11" fmla="*/ 0 w 10452445"/>
              <a:gd name="connsiteY11" fmla="*/ 195352 h 19535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452445" h="195352">
                <a:moveTo>
                  <a:pt x="7110414" y="0"/>
                </a:moveTo>
                <a:lnTo>
                  <a:pt x="10452445" y="0"/>
                </a:lnTo>
                <a:lnTo>
                  <a:pt x="10421154" y="195352"/>
                </a:lnTo>
                <a:lnTo>
                  <a:pt x="7079123" y="195352"/>
                </a:lnTo>
                <a:close/>
                <a:moveTo>
                  <a:pt x="3577116" y="0"/>
                </a:moveTo>
                <a:lnTo>
                  <a:pt x="6919147" y="0"/>
                </a:lnTo>
                <a:lnTo>
                  <a:pt x="6887856" y="195352"/>
                </a:lnTo>
                <a:lnTo>
                  <a:pt x="3545825" y="195352"/>
                </a:lnTo>
                <a:close/>
                <a:moveTo>
                  <a:pt x="31291" y="0"/>
                </a:moveTo>
                <a:lnTo>
                  <a:pt x="3373323" y="0"/>
                </a:lnTo>
                <a:lnTo>
                  <a:pt x="3342031" y="195352"/>
                </a:lnTo>
                <a:lnTo>
                  <a:pt x="0" y="195352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3" name="Text Placeholder 42">
            <a:extLst>
              <a:ext uri="{FF2B5EF4-FFF2-40B4-BE49-F238E27FC236}">
                <a16:creationId xmlns:a16="http://schemas.microsoft.com/office/drawing/2014/main" id="{731E1C47-DD69-A64A-8A3C-17882AE12DD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266214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4" name="Text Placeholder 42">
            <a:extLst>
              <a:ext uri="{FF2B5EF4-FFF2-40B4-BE49-F238E27FC236}">
                <a16:creationId xmlns:a16="http://schemas.microsoft.com/office/drawing/2014/main" id="{D90EC933-9590-AE4A-B72E-4F29C40DFEC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266214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5" name="Content Placeholder 2">
            <a:extLst>
              <a:ext uri="{FF2B5EF4-FFF2-40B4-BE49-F238E27FC236}">
                <a16:creationId xmlns:a16="http://schemas.microsoft.com/office/drawing/2014/main" id="{F1E6AA1F-0C53-9E4E-BA5C-8F931F63578F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4198154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47" name="Text Placeholder 42">
            <a:extLst>
              <a:ext uri="{FF2B5EF4-FFF2-40B4-BE49-F238E27FC236}">
                <a16:creationId xmlns:a16="http://schemas.microsoft.com/office/drawing/2014/main" id="{9752D0A0-8F32-4C4D-846A-F569F0F7D5C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812039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48" name="Text Placeholder 42">
            <a:extLst>
              <a:ext uri="{FF2B5EF4-FFF2-40B4-BE49-F238E27FC236}">
                <a16:creationId xmlns:a16="http://schemas.microsoft.com/office/drawing/2014/main" id="{D8DF6BB9-0AFD-A940-A490-D9F799773698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812039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49" name="Content Placeholder 2">
            <a:extLst>
              <a:ext uri="{FF2B5EF4-FFF2-40B4-BE49-F238E27FC236}">
                <a16:creationId xmlns:a16="http://schemas.microsoft.com/office/drawing/2014/main" id="{89046D37-1DEB-0D4E-8765-C5E2335F86F6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31452" y="2136140"/>
            <a:ext cx="3843019" cy="3167380"/>
          </a:xfrm>
          <a:prstGeom prst="parallelogram">
            <a:avLst>
              <a:gd name="adj" fmla="val 16018"/>
            </a:avLst>
          </a:prstGeom>
          <a:solidFill>
            <a:schemeClr val="tx1"/>
          </a:solidFill>
        </p:spPr>
        <p:txBody>
          <a:bodyPr anchor="ctr">
            <a:normAutofit/>
          </a:bodyPr>
          <a:lstStyle>
            <a:lvl1pPr algn="ctr">
              <a:lnSpc>
                <a:spcPct val="80000"/>
              </a:lnSpc>
              <a:spcAft>
                <a:spcPts val="600"/>
              </a:spcAft>
              <a:defRPr sz="100" b="1">
                <a:solidFill>
                  <a:schemeClr val="tx1"/>
                </a:solidFill>
              </a:defRPr>
            </a:lvl1pPr>
            <a:lvl2pPr algn="ctr">
              <a:lnSpc>
                <a:spcPct val="80000"/>
              </a:lnSpc>
              <a:spcAft>
                <a:spcPts val="600"/>
              </a:spcAft>
              <a:defRPr sz="6000">
                <a:solidFill>
                  <a:schemeClr val="accent4"/>
                </a:solidFill>
              </a:defRPr>
            </a:lvl2pPr>
            <a:lvl3pPr marL="7938" indent="0" algn="ctr">
              <a:lnSpc>
                <a:spcPct val="80000"/>
              </a:lnSpc>
              <a:spcAft>
                <a:spcPts val="600"/>
              </a:spcAft>
              <a:buNone/>
              <a:defRPr sz="2400" b="1">
                <a:solidFill>
                  <a:schemeClr val="tx1"/>
                </a:solidFill>
              </a:defRPr>
            </a:lvl3pPr>
            <a:lvl4pPr algn="ctr">
              <a:lnSpc>
                <a:spcPct val="80000"/>
              </a:lnSpc>
              <a:spcAft>
                <a:spcPts val="600"/>
              </a:spcAft>
              <a:defRPr sz="4800">
                <a:solidFill>
                  <a:schemeClr val="accent6"/>
                </a:solidFill>
              </a:defRPr>
            </a:lvl4pPr>
            <a:lvl5pPr algn="ctr">
              <a:lnSpc>
                <a:spcPct val="80000"/>
              </a:lnSpc>
              <a:spcAft>
                <a:spcPts val="600"/>
              </a:spcAft>
              <a:defRPr sz="2400" b="1">
                <a:solidFill>
                  <a:schemeClr val="tx1"/>
                </a:solidFill>
              </a:defRPr>
            </a:lvl5pPr>
          </a:lstStyle>
          <a:p>
            <a:pPr lvl="0"/>
            <a:r>
              <a:rPr lang="en-GB"/>
              <a:t> </a:t>
            </a:r>
          </a:p>
        </p:txBody>
      </p:sp>
      <p:sp>
        <p:nvSpPr>
          <p:cNvPr id="51" name="Text Placeholder 42">
            <a:extLst>
              <a:ext uri="{FF2B5EF4-FFF2-40B4-BE49-F238E27FC236}">
                <a16:creationId xmlns:a16="http://schemas.microsoft.com/office/drawing/2014/main" id="{60C5B26C-67C1-4B41-A927-21EF4C982243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8345337" y="2435403"/>
            <a:ext cx="2717801" cy="547688"/>
          </a:xfrm>
          <a:noFill/>
        </p:spPr>
        <p:txBody>
          <a:bodyPr anchor="ctr"/>
          <a:lstStyle>
            <a:lvl4pPr algn="ctr">
              <a:defRPr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Point Title Goes Here</a:t>
            </a:r>
            <a:endParaRPr lang="en-US"/>
          </a:p>
        </p:txBody>
      </p:sp>
      <p:sp>
        <p:nvSpPr>
          <p:cNvPr id="52" name="Text Placeholder 42">
            <a:extLst>
              <a:ext uri="{FF2B5EF4-FFF2-40B4-BE49-F238E27FC236}">
                <a16:creationId xmlns:a16="http://schemas.microsoft.com/office/drawing/2014/main" id="{DE5D7B1E-322F-4043-856C-5F50C2ED9436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8345337" y="3140968"/>
            <a:ext cx="2717801" cy="547688"/>
          </a:xfrm>
          <a:noFill/>
        </p:spPr>
        <p:txBody>
          <a:bodyPr anchor="t">
            <a:normAutofit/>
          </a:bodyPr>
          <a:lstStyle>
            <a:lvl4pPr algn="ctr">
              <a:defRPr sz="1200" b="0">
                <a:solidFill>
                  <a:schemeClr val="bg1"/>
                </a:solidFill>
              </a:defRPr>
            </a:lvl4pPr>
            <a:lvl5pPr algn="ctr">
              <a:defRPr/>
            </a:lvl5pPr>
          </a:lstStyle>
          <a:p>
            <a:pPr lvl="3"/>
            <a:r>
              <a:rPr lang="en-GB"/>
              <a:t>Body Text Goes Here</a:t>
            </a:r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21ADF616-547B-FE4F-83B6-337F9715E95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1188720"/>
            <a:ext cx="10965600" cy="934720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4797609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Takeaway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" name="Text Placeholder 21">
            <a:extLst>
              <a:ext uri="{FF2B5EF4-FFF2-40B4-BE49-F238E27FC236}">
                <a16:creationId xmlns:a16="http://schemas.microsoft.com/office/drawing/2014/main" id="{B3B6E53A-D89B-B940-9D39-415F8E4D305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5141817" y="204788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6" name="Text Placeholder 21">
            <a:extLst>
              <a:ext uri="{FF2B5EF4-FFF2-40B4-BE49-F238E27FC236}">
                <a16:creationId xmlns:a16="http://schemas.microsoft.com/office/drawing/2014/main" id="{A74AF6A7-69A9-7A48-92AE-BC526D3BA4EF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4771114" y="1798515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0" name="Text Placeholder 21">
            <a:extLst>
              <a:ext uri="{FF2B5EF4-FFF2-40B4-BE49-F238E27FC236}">
                <a16:creationId xmlns:a16="http://schemas.microsoft.com/office/drawing/2014/main" id="{9EE33D39-7F12-864F-8883-F7C67CA8FC7A}"/>
              </a:ext>
            </a:extLst>
          </p:cNvPr>
          <p:cNvSpPr>
            <a:spLocks noGrp="1"/>
          </p:cNvSpPr>
          <p:nvPr>
            <p:ph type="body" sz="quarter" idx="33" hasCustomPrompt="1"/>
          </p:nvPr>
        </p:nvSpPr>
        <p:spPr>
          <a:xfrm>
            <a:off x="14406065" y="3360109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64" name="Text Placeholder 21">
            <a:extLst>
              <a:ext uri="{FF2B5EF4-FFF2-40B4-BE49-F238E27FC236}">
                <a16:creationId xmlns:a16="http://schemas.microsoft.com/office/drawing/2014/main" id="{773ADB21-32BE-4641-94A5-B04DD7EDFBD3}"/>
              </a:ext>
            </a:extLst>
          </p:cNvPr>
          <p:cNvSpPr>
            <a:spLocks noGrp="1"/>
          </p:cNvSpPr>
          <p:nvPr>
            <p:ph type="body" sz="quarter" idx="37" hasCustomPrompt="1"/>
          </p:nvPr>
        </p:nvSpPr>
        <p:spPr>
          <a:xfrm>
            <a:off x="15550189" y="-1414462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7" name="Text Placeholder 76">
            <a:extLst>
              <a:ext uri="{FF2B5EF4-FFF2-40B4-BE49-F238E27FC236}">
                <a16:creationId xmlns:a16="http://schemas.microsoft.com/office/drawing/2014/main" id="{27E5DDBD-3796-0C48-8987-7575D29D8657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13114784" y="-1414463"/>
            <a:ext cx="2782519" cy="6022346"/>
          </a:xfrm>
          <a:custGeom>
            <a:avLst/>
            <a:gdLst>
              <a:gd name="connsiteX0" fmla="*/ 311944 w 2782519"/>
              <a:gd name="connsiteY0" fmla="*/ 4774571 h 6022346"/>
              <a:gd name="connsiteX1" fmla="*/ 1638395 w 2782519"/>
              <a:gd name="connsiteY1" fmla="*/ 4774571 h 6022346"/>
              <a:gd name="connsiteX2" fmla="*/ 1326451 w 2782519"/>
              <a:gd name="connsiteY2" fmla="*/ 6022346 h 6022346"/>
              <a:gd name="connsiteX3" fmla="*/ 0 w 2782519"/>
              <a:gd name="connsiteY3" fmla="*/ 6022346 h 6022346"/>
              <a:gd name="connsiteX4" fmla="*/ 676993 w 2782519"/>
              <a:gd name="connsiteY4" fmla="*/ 3212977 h 6022346"/>
              <a:gd name="connsiteX5" fmla="*/ 2003444 w 2782519"/>
              <a:gd name="connsiteY5" fmla="*/ 3212977 h 6022346"/>
              <a:gd name="connsiteX6" fmla="*/ 1691500 w 2782519"/>
              <a:gd name="connsiteY6" fmla="*/ 4460752 h 6022346"/>
              <a:gd name="connsiteX7" fmla="*/ 365049 w 2782519"/>
              <a:gd name="connsiteY7" fmla="*/ 4460752 h 6022346"/>
              <a:gd name="connsiteX8" fmla="*/ 1047696 w 2782519"/>
              <a:gd name="connsiteY8" fmla="*/ 1619250 h 6022346"/>
              <a:gd name="connsiteX9" fmla="*/ 2374147 w 2782519"/>
              <a:gd name="connsiteY9" fmla="*/ 1619250 h 6022346"/>
              <a:gd name="connsiteX10" fmla="*/ 2062203 w 2782519"/>
              <a:gd name="connsiteY10" fmla="*/ 2867025 h 6022346"/>
              <a:gd name="connsiteX11" fmla="*/ 735752 w 2782519"/>
              <a:gd name="connsiteY11" fmla="*/ 2867025 h 6022346"/>
              <a:gd name="connsiteX12" fmla="*/ 1456068 w 2782519"/>
              <a:gd name="connsiteY12" fmla="*/ 0 h 6022346"/>
              <a:gd name="connsiteX13" fmla="*/ 2782519 w 2782519"/>
              <a:gd name="connsiteY13" fmla="*/ 0 h 6022346"/>
              <a:gd name="connsiteX14" fmla="*/ 2470575 w 2782519"/>
              <a:gd name="connsiteY14" fmla="*/ 1247775 h 6022346"/>
              <a:gd name="connsiteX15" fmla="*/ 1144124 w 2782519"/>
              <a:gd name="connsiteY15" fmla="*/ 1247775 h 602234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</a:cxnLst>
            <a:rect l="l" t="t" r="r" b="b"/>
            <a:pathLst>
              <a:path w="2782519" h="6022346">
                <a:moveTo>
                  <a:pt x="311944" y="4774571"/>
                </a:moveTo>
                <a:lnTo>
                  <a:pt x="1638395" y="4774571"/>
                </a:lnTo>
                <a:lnTo>
                  <a:pt x="1326451" y="6022346"/>
                </a:lnTo>
                <a:lnTo>
                  <a:pt x="0" y="6022346"/>
                </a:lnTo>
                <a:close/>
                <a:moveTo>
                  <a:pt x="676993" y="3212977"/>
                </a:moveTo>
                <a:lnTo>
                  <a:pt x="2003444" y="3212977"/>
                </a:lnTo>
                <a:lnTo>
                  <a:pt x="1691500" y="4460752"/>
                </a:lnTo>
                <a:lnTo>
                  <a:pt x="365049" y="4460752"/>
                </a:lnTo>
                <a:close/>
                <a:moveTo>
                  <a:pt x="1047696" y="1619250"/>
                </a:moveTo>
                <a:lnTo>
                  <a:pt x="2374147" y="1619250"/>
                </a:lnTo>
                <a:lnTo>
                  <a:pt x="2062203" y="2867025"/>
                </a:lnTo>
                <a:lnTo>
                  <a:pt x="735752" y="2867025"/>
                </a:lnTo>
                <a:close/>
                <a:moveTo>
                  <a:pt x="1456068" y="0"/>
                </a:moveTo>
                <a:lnTo>
                  <a:pt x="2782519" y="0"/>
                </a:lnTo>
                <a:lnTo>
                  <a:pt x="2470575" y="1247775"/>
                </a:lnTo>
                <a:lnTo>
                  <a:pt x="1144124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6ED919B1-B49D-B046-8103-DA2A0DB47A34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770730" y="0"/>
            <a:ext cx="8421270" cy="6496050"/>
          </a:xfrm>
          <a:custGeom>
            <a:avLst/>
            <a:gdLst>
              <a:gd name="connsiteX0" fmla="*/ 1624014 w 8421270"/>
              <a:gd name="connsiteY0" fmla="*/ 0 h 6496050"/>
              <a:gd name="connsiteX1" fmla="*/ 4590438 w 8421270"/>
              <a:gd name="connsiteY1" fmla="*/ 0 h 6496050"/>
              <a:gd name="connsiteX2" fmla="*/ 6631940 w 8421270"/>
              <a:gd name="connsiteY2" fmla="*/ 0 h 6496050"/>
              <a:gd name="connsiteX3" fmla="*/ 8421270 w 8421270"/>
              <a:gd name="connsiteY3" fmla="*/ 0 h 6496050"/>
              <a:gd name="connsiteX4" fmla="*/ 8421270 w 8421270"/>
              <a:gd name="connsiteY4" fmla="*/ 6496050 h 6496050"/>
              <a:gd name="connsiteX5" fmla="*/ 6631940 w 8421270"/>
              <a:gd name="connsiteY5" fmla="*/ 6496050 h 6496050"/>
              <a:gd name="connsiteX6" fmla="*/ 4590438 w 8421270"/>
              <a:gd name="connsiteY6" fmla="*/ 6496050 h 6496050"/>
              <a:gd name="connsiteX7" fmla="*/ 2577270 w 8421270"/>
              <a:gd name="connsiteY7" fmla="*/ 6496050 h 6496050"/>
              <a:gd name="connsiteX8" fmla="*/ 2325270 w 8421270"/>
              <a:gd name="connsiteY8" fmla="*/ 6244050 h 6496050"/>
              <a:gd name="connsiteX9" fmla="*/ 2073270 w 8421270"/>
              <a:gd name="connsiteY9" fmla="*/ 6496050 h 6496050"/>
              <a:gd name="connsiteX10" fmla="*/ 0 w 8421270"/>
              <a:gd name="connsiteY10" fmla="*/ 6496050 h 64960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8421270" h="6496050">
                <a:moveTo>
                  <a:pt x="1624014" y="0"/>
                </a:moveTo>
                <a:lnTo>
                  <a:pt x="4590438" y="0"/>
                </a:lnTo>
                <a:lnTo>
                  <a:pt x="6631940" y="0"/>
                </a:lnTo>
                <a:lnTo>
                  <a:pt x="8421270" y="0"/>
                </a:lnTo>
                <a:lnTo>
                  <a:pt x="8421270" y="6496050"/>
                </a:lnTo>
                <a:lnTo>
                  <a:pt x="6631940" y="6496050"/>
                </a:lnTo>
                <a:lnTo>
                  <a:pt x="4590438" y="6496050"/>
                </a:lnTo>
                <a:lnTo>
                  <a:pt x="2577270" y="6496050"/>
                </a:lnTo>
                <a:cubicBezTo>
                  <a:pt x="2577270" y="6356874"/>
                  <a:pt x="2464446" y="6244050"/>
                  <a:pt x="2325270" y="6244050"/>
                </a:cubicBezTo>
                <a:cubicBezTo>
                  <a:pt x="2186095" y="6244050"/>
                  <a:pt x="2073270" y="6356874"/>
                  <a:pt x="2073270" y="6496050"/>
                </a:cubicBezTo>
                <a:lnTo>
                  <a:pt x="0" y="6496050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4A98A6F2-B4B8-C74A-99F0-AA1661E3527E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5301049" y="161925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6" name="Text Placeholder 75">
            <a:extLst>
              <a:ext uri="{FF2B5EF4-FFF2-40B4-BE49-F238E27FC236}">
                <a16:creationId xmlns:a16="http://schemas.microsoft.com/office/drawing/2014/main" id="{B331CDFB-751B-2345-AB1A-DD43D88938D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274016" y="1619249"/>
            <a:ext cx="2374147" cy="4403096"/>
          </a:xfrm>
          <a:custGeom>
            <a:avLst/>
            <a:gdLst>
              <a:gd name="connsiteX0" fmla="*/ 311944 w 2374147"/>
              <a:gd name="connsiteY0" fmla="*/ 3155321 h 4403096"/>
              <a:gd name="connsiteX1" fmla="*/ 1638395 w 2374147"/>
              <a:gd name="connsiteY1" fmla="*/ 3155321 h 4403096"/>
              <a:gd name="connsiteX2" fmla="*/ 1326451 w 2374147"/>
              <a:gd name="connsiteY2" fmla="*/ 4403096 h 4403096"/>
              <a:gd name="connsiteX3" fmla="*/ 0 w 2374147"/>
              <a:gd name="connsiteY3" fmla="*/ 4403096 h 4403096"/>
              <a:gd name="connsiteX4" fmla="*/ 676993 w 2374147"/>
              <a:gd name="connsiteY4" fmla="*/ 1593727 h 4403096"/>
              <a:gd name="connsiteX5" fmla="*/ 2003444 w 2374147"/>
              <a:gd name="connsiteY5" fmla="*/ 1593727 h 4403096"/>
              <a:gd name="connsiteX6" fmla="*/ 1691500 w 2374147"/>
              <a:gd name="connsiteY6" fmla="*/ 2841502 h 4403096"/>
              <a:gd name="connsiteX7" fmla="*/ 365049 w 2374147"/>
              <a:gd name="connsiteY7" fmla="*/ 2841502 h 4403096"/>
              <a:gd name="connsiteX8" fmla="*/ 1047696 w 2374147"/>
              <a:gd name="connsiteY8" fmla="*/ 0 h 4403096"/>
              <a:gd name="connsiteX9" fmla="*/ 2374147 w 2374147"/>
              <a:gd name="connsiteY9" fmla="*/ 0 h 4403096"/>
              <a:gd name="connsiteX10" fmla="*/ 2062203 w 2374147"/>
              <a:gd name="connsiteY10" fmla="*/ 1247775 h 4403096"/>
              <a:gd name="connsiteX11" fmla="*/ 735752 w 2374147"/>
              <a:gd name="connsiteY11" fmla="*/ 1247775 h 440309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2374147" h="4403096">
                <a:moveTo>
                  <a:pt x="311944" y="3155321"/>
                </a:moveTo>
                <a:lnTo>
                  <a:pt x="1638395" y="3155321"/>
                </a:lnTo>
                <a:lnTo>
                  <a:pt x="1326451" y="4403096"/>
                </a:lnTo>
                <a:lnTo>
                  <a:pt x="0" y="4403096"/>
                </a:lnTo>
                <a:close/>
                <a:moveTo>
                  <a:pt x="676993" y="1593727"/>
                </a:moveTo>
                <a:lnTo>
                  <a:pt x="2003444" y="1593727"/>
                </a:lnTo>
                <a:lnTo>
                  <a:pt x="1691500" y="2841502"/>
                </a:lnTo>
                <a:lnTo>
                  <a:pt x="365049" y="2841502"/>
                </a:lnTo>
                <a:close/>
                <a:moveTo>
                  <a:pt x="1047696" y="0"/>
                </a:moveTo>
                <a:lnTo>
                  <a:pt x="2374147" y="0"/>
                </a:lnTo>
                <a:lnTo>
                  <a:pt x="2062203" y="1247775"/>
                </a:lnTo>
                <a:lnTo>
                  <a:pt x="735752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7" name="Text Placeholder 26">
            <a:extLst>
              <a:ext uri="{FF2B5EF4-FFF2-40B4-BE49-F238E27FC236}">
                <a16:creationId xmlns:a16="http://schemas.microsoft.com/office/drawing/2014/main" id="{6054384E-3F45-EA4B-8380-05D251B524F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009768" y="162517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E392CF1C-A80E-104A-B004-413C94DF3F0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751513" y="2020716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0" name="Text Placeholder 21">
            <a:extLst>
              <a:ext uri="{FF2B5EF4-FFF2-40B4-BE49-F238E27FC236}">
                <a16:creationId xmlns:a16="http://schemas.microsoft.com/office/drawing/2014/main" id="{59862CC0-B0EC-DA4D-B9C5-C6A53CB07A14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930346" y="3212977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2" name="Text Placeholder 26">
            <a:extLst>
              <a:ext uri="{FF2B5EF4-FFF2-40B4-BE49-F238E27FC236}">
                <a16:creationId xmlns:a16="http://schemas.microsoft.com/office/drawing/2014/main" id="{E2935751-D551-A243-AED5-D8E04A6AA0F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639065" y="3218897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691A082F-A2D0-A54B-9825-8103536A1B98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5380810" y="3614443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34" name="Text Placeholder 21">
            <a:extLst>
              <a:ext uri="{FF2B5EF4-FFF2-40B4-BE49-F238E27FC236}">
                <a16:creationId xmlns:a16="http://schemas.microsoft.com/office/drawing/2014/main" id="{1ECFBFE3-FED5-3B43-84ED-F08DDCB49C6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4565297" y="4774571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6" name="Text Placeholder 26">
            <a:extLst>
              <a:ext uri="{FF2B5EF4-FFF2-40B4-BE49-F238E27FC236}">
                <a16:creationId xmlns:a16="http://schemas.microsoft.com/office/drawing/2014/main" id="{9FB9A107-DC88-8E4D-A90A-2022B5FDC2F7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274016" y="4780491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37" name="Text Placeholder 28">
            <a:extLst>
              <a:ext uri="{FF2B5EF4-FFF2-40B4-BE49-F238E27FC236}">
                <a16:creationId xmlns:a16="http://schemas.microsoft.com/office/drawing/2014/main" id="{C1185E65-D6E4-A845-B54C-632E626577D1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015761" y="5176037"/>
            <a:ext cx="5708650" cy="395287"/>
          </a:xfrm>
        </p:spPr>
        <p:txBody>
          <a:bodyPr anchor="ctr"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3626481" cy="1192742"/>
          </a:xfrm>
        </p:spPr>
        <p:txBody>
          <a:bodyPr>
            <a:normAutofit/>
          </a:bodyPr>
          <a:lstStyle>
            <a:lvl1pPr>
              <a:defRPr sz="4500">
                <a:solidFill>
                  <a:schemeClr val="bg1"/>
                </a:solidFill>
              </a:defRPr>
            </a:lvl1pPr>
          </a:lstStyle>
          <a:p>
            <a:r>
              <a:rPr lang="en-US" sz="2400"/>
              <a:t>Today’s Key Takeaways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B1D7550-0EB0-3A43-B3ED-278106F7B6C0}" type="slidenum">
              <a:rPr lang="en-GB" smtClean="0"/>
              <a:t>‹Nº›</a:t>
            </a:fld>
            <a:endParaRPr lang="en-GB"/>
          </a:p>
        </p:txBody>
      </p:sp>
      <p:sp>
        <p:nvSpPr>
          <p:cNvPr id="54" name="Text Placeholder 26">
            <a:extLst>
              <a:ext uri="{FF2B5EF4-FFF2-40B4-BE49-F238E27FC236}">
                <a16:creationId xmlns:a16="http://schemas.microsoft.com/office/drawing/2014/main" id="{00BF4B5B-54B8-E946-BCDA-B01C5AF5F406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3850536" y="210708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5" name="Text Placeholder 28">
            <a:extLst>
              <a:ext uri="{FF2B5EF4-FFF2-40B4-BE49-F238E27FC236}">
                <a16:creationId xmlns:a16="http://schemas.microsoft.com/office/drawing/2014/main" id="{71E97782-D57D-C647-A722-F4D9A259DF44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5592281" y="606254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58" name="Text Placeholder 26">
            <a:extLst>
              <a:ext uri="{FF2B5EF4-FFF2-40B4-BE49-F238E27FC236}">
                <a16:creationId xmlns:a16="http://schemas.microsoft.com/office/drawing/2014/main" id="{C3D0C3C1-7499-9546-83E4-20DD1038386C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13479833" y="1804435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59" name="Text Placeholder 28">
            <a:extLst>
              <a:ext uri="{FF2B5EF4-FFF2-40B4-BE49-F238E27FC236}">
                <a16:creationId xmlns:a16="http://schemas.microsoft.com/office/drawing/2014/main" id="{1A8A61C4-396F-A848-A9A9-154C0A3EE1DD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15221578" y="2199981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2" name="Text Placeholder 26">
            <a:extLst>
              <a:ext uri="{FF2B5EF4-FFF2-40B4-BE49-F238E27FC236}">
                <a16:creationId xmlns:a16="http://schemas.microsoft.com/office/drawing/2014/main" id="{68C810CE-1C82-8F44-B154-6AFDE31F6714}"/>
              </a:ext>
            </a:extLst>
          </p:cNvPr>
          <p:cNvSpPr>
            <a:spLocks noGrp="1"/>
          </p:cNvSpPr>
          <p:nvPr>
            <p:ph type="body" sz="quarter" idx="35" hasCustomPrompt="1"/>
          </p:nvPr>
        </p:nvSpPr>
        <p:spPr>
          <a:xfrm>
            <a:off x="13114784" y="3366029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3" name="Text Placeholder 28">
            <a:extLst>
              <a:ext uri="{FF2B5EF4-FFF2-40B4-BE49-F238E27FC236}">
                <a16:creationId xmlns:a16="http://schemas.microsoft.com/office/drawing/2014/main" id="{F124AA7A-6862-1D4B-887C-D09958C21554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14856529" y="3761575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6" name="Text Placeholder 26">
            <a:extLst>
              <a:ext uri="{FF2B5EF4-FFF2-40B4-BE49-F238E27FC236}">
                <a16:creationId xmlns:a16="http://schemas.microsoft.com/office/drawing/2014/main" id="{9FEE6D7A-9E97-2A4D-97EE-02CC7D667545}"/>
              </a:ext>
            </a:extLst>
          </p:cNvPr>
          <p:cNvSpPr>
            <a:spLocks noGrp="1"/>
          </p:cNvSpPr>
          <p:nvPr>
            <p:ph type="body" sz="quarter" idx="39" hasCustomPrompt="1"/>
          </p:nvPr>
        </p:nvSpPr>
        <p:spPr>
          <a:xfrm>
            <a:off x="14258908" y="-1408542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67" name="Text Placeholder 28">
            <a:extLst>
              <a:ext uri="{FF2B5EF4-FFF2-40B4-BE49-F238E27FC236}">
                <a16:creationId xmlns:a16="http://schemas.microsoft.com/office/drawing/2014/main" id="{0D18B90B-706E-5349-A9D1-4007A913FDB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6000653" y="-101299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68" name="Text Placeholder 21">
            <a:extLst>
              <a:ext uri="{FF2B5EF4-FFF2-40B4-BE49-F238E27FC236}">
                <a16:creationId xmlns:a16="http://schemas.microsoft.com/office/drawing/2014/main" id="{F9C6C43C-F98A-4140-A9BB-F84E8B12C6E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4771114" y="5686946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8" name="Text Placeholder 77">
            <a:extLst>
              <a:ext uri="{FF2B5EF4-FFF2-40B4-BE49-F238E27FC236}">
                <a16:creationId xmlns:a16="http://schemas.microsoft.com/office/drawing/2014/main" id="{B5160FD0-2A06-E049-BBB4-41183FDBCB37}"/>
              </a:ext>
            </a:extLst>
          </p:cNvPr>
          <p:cNvSpPr>
            <a:spLocks noGrp="1"/>
          </p:cNvSpPr>
          <p:nvPr>
            <p:ph type="body" sz="quarter" idx="42" hasCustomPrompt="1"/>
          </p:nvPr>
        </p:nvSpPr>
        <p:spPr>
          <a:xfrm>
            <a:off x="13114783" y="5686946"/>
            <a:ext cx="2003444" cy="2809369"/>
          </a:xfrm>
          <a:custGeom>
            <a:avLst/>
            <a:gdLst>
              <a:gd name="connsiteX0" fmla="*/ 311944 w 2003444"/>
              <a:gd name="connsiteY0" fmla="*/ 1561594 h 2809369"/>
              <a:gd name="connsiteX1" fmla="*/ 1638395 w 2003444"/>
              <a:gd name="connsiteY1" fmla="*/ 1561594 h 2809369"/>
              <a:gd name="connsiteX2" fmla="*/ 1326451 w 2003444"/>
              <a:gd name="connsiteY2" fmla="*/ 2809369 h 2809369"/>
              <a:gd name="connsiteX3" fmla="*/ 0 w 2003444"/>
              <a:gd name="connsiteY3" fmla="*/ 2809369 h 2809369"/>
              <a:gd name="connsiteX4" fmla="*/ 676993 w 2003444"/>
              <a:gd name="connsiteY4" fmla="*/ 0 h 2809369"/>
              <a:gd name="connsiteX5" fmla="*/ 2003444 w 2003444"/>
              <a:gd name="connsiteY5" fmla="*/ 0 h 2809369"/>
              <a:gd name="connsiteX6" fmla="*/ 1691500 w 2003444"/>
              <a:gd name="connsiteY6" fmla="*/ 1247775 h 2809369"/>
              <a:gd name="connsiteX7" fmla="*/ 365049 w 2003444"/>
              <a:gd name="connsiteY7" fmla="*/ 1247775 h 28093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2003444" h="2809369">
                <a:moveTo>
                  <a:pt x="311944" y="1561594"/>
                </a:moveTo>
                <a:lnTo>
                  <a:pt x="1638395" y="1561594"/>
                </a:lnTo>
                <a:lnTo>
                  <a:pt x="1326451" y="2809369"/>
                </a:lnTo>
                <a:lnTo>
                  <a:pt x="0" y="2809369"/>
                </a:lnTo>
                <a:close/>
                <a:moveTo>
                  <a:pt x="676993" y="0"/>
                </a:moveTo>
                <a:lnTo>
                  <a:pt x="2003444" y="0"/>
                </a:lnTo>
                <a:lnTo>
                  <a:pt x="1691500" y="1247775"/>
                </a:lnTo>
                <a:lnTo>
                  <a:pt x="365049" y="1247775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5400000" scaled="1"/>
          </a:gradFill>
        </p:spPr>
        <p:txBody>
          <a:bodyPr wrap="square" anchor="ctr">
            <a:no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0" name="Text Placeholder 26">
            <a:extLst>
              <a:ext uri="{FF2B5EF4-FFF2-40B4-BE49-F238E27FC236}">
                <a16:creationId xmlns:a16="http://schemas.microsoft.com/office/drawing/2014/main" id="{2E411098-B0BF-544D-ADB8-27FC136F998A}"/>
              </a:ext>
            </a:extLst>
          </p:cNvPr>
          <p:cNvSpPr>
            <a:spLocks noGrp="1"/>
          </p:cNvSpPr>
          <p:nvPr>
            <p:ph type="body" sz="quarter" idx="43" hasCustomPrompt="1"/>
          </p:nvPr>
        </p:nvSpPr>
        <p:spPr>
          <a:xfrm>
            <a:off x="13479833" y="5692866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1" name="Text Placeholder 28">
            <a:extLst>
              <a:ext uri="{FF2B5EF4-FFF2-40B4-BE49-F238E27FC236}">
                <a16:creationId xmlns:a16="http://schemas.microsoft.com/office/drawing/2014/main" id="{06C42E5B-D16F-6744-B9B1-E9EDF3D5A0AD}"/>
              </a:ext>
            </a:extLst>
          </p:cNvPr>
          <p:cNvSpPr>
            <a:spLocks noGrp="1"/>
          </p:cNvSpPr>
          <p:nvPr>
            <p:ph type="body" sz="quarter" idx="44" hasCustomPrompt="1"/>
          </p:nvPr>
        </p:nvSpPr>
        <p:spPr>
          <a:xfrm>
            <a:off x="15221578" y="6088412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  <p:sp>
        <p:nvSpPr>
          <p:cNvPr id="72" name="Text Placeholder 21">
            <a:extLst>
              <a:ext uri="{FF2B5EF4-FFF2-40B4-BE49-F238E27FC236}">
                <a16:creationId xmlns:a16="http://schemas.microsoft.com/office/drawing/2014/main" id="{D8F58CC3-921A-8F4C-8559-EE641013D9CD}"/>
              </a:ext>
            </a:extLst>
          </p:cNvPr>
          <p:cNvSpPr>
            <a:spLocks noGrp="1"/>
          </p:cNvSpPr>
          <p:nvPr>
            <p:ph type="body" sz="quarter" idx="45" hasCustomPrompt="1"/>
          </p:nvPr>
        </p:nvSpPr>
        <p:spPr>
          <a:xfrm>
            <a:off x="14406065" y="7248540"/>
            <a:ext cx="6536939" cy="1247775"/>
          </a:xfrm>
          <a:prstGeom prst="parallelogram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 b="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74" name="Text Placeholder 26">
            <a:extLst>
              <a:ext uri="{FF2B5EF4-FFF2-40B4-BE49-F238E27FC236}">
                <a16:creationId xmlns:a16="http://schemas.microsoft.com/office/drawing/2014/main" id="{A9D171AF-F465-6149-A94E-DDD198BECDDA}"/>
              </a:ext>
            </a:extLst>
          </p:cNvPr>
          <p:cNvSpPr>
            <a:spLocks noGrp="1"/>
          </p:cNvSpPr>
          <p:nvPr>
            <p:ph type="body" sz="quarter" idx="47" hasCustomPrompt="1"/>
          </p:nvPr>
        </p:nvSpPr>
        <p:spPr>
          <a:xfrm>
            <a:off x="13114784" y="7254460"/>
            <a:ext cx="1649627" cy="1161279"/>
          </a:xfrm>
        </p:spPr>
        <p:txBody>
          <a:bodyPr anchor="ctr"/>
          <a:lstStyle>
            <a:lvl1pPr algn="ctr">
              <a:defRPr sz="60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00</a:t>
            </a:r>
          </a:p>
        </p:txBody>
      </p:sp>
      <p:sp>
        <p:nvSpPr>
          <p:cNvPr id="75" name="Text Placeholder 28">
            <a:extLst>
              <a:ext uri="{FF2B5EF4-FFF2-40B4-BE49-F238E27FC236}">
                <a16:creationId xmlns:a16="http://schemas.microsoft.com/office/drawing/2014/main" id="{7ABFD1F8-B3B1-6C40-BD1C-16ACE88BD7A2}"/>
              </a:ext>
            </a:extLst>
          </p:cNvPr>
          <p:cNvSpPr>
            <a:spLocks noGrp="1"/>
          </p:cNvSpPr>
          <p:nvPr>
            <p:ph type="body" sz="quarter" idx="48" hasCustomPrompt="1"/>
          </p:nvPr>
        </p:nvSpPr>
        <p:spPr>
          <a:xfrm>
            <a:off x="14856529" y="7650006"/>
            <a:ext cx="5708650" cy="395287"/>
          </a:xfrm>
        </p:spPr>
        <p:txBody>
          <a:bodyPr anchor="ctr"/>
          <a:lstStyle>
            <a:lvl1pPr>
              <a:defRPr b="1"/>
            </a:lvl1pPr>
          </a:lstStyle>
          <a:p>
            <a:pPr lvl="0"/>
            <a:r>
              <a:rPr lang="en-US"/>
              <a:t>Key Point Text Goes Here</a:t>
            </a:r>
          </a:p>
        </p:txBody>
      </p:sp>
    </p:spTree>
    <p:extLst>
      <p:ext uri="{BB962C8B-B14F-4D97-AF65-F5344CB8AC3E}">
        <p14:creationId xmlns:p14="http://schemas.microsoft.com/office/powerpoint/2010/main" val="3307010321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icture Placeholder 20">
            <a:extLst>
              <a:ext uri="{FF2B5EF4-FFF2-40B4-BE49-F238E27FC236}">
                <a16:creationId xmlns:a16="http://schemas.microsoft.com/office/drawing/2014/main" id="{7C51B204-ADCB-484A-86CC-BB3F4643F3AE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3326766 w 12192000"/>
              <a:gd name="connsiteY0" fmla="*/ 2510223 h 6858000"/>
              <a:gd name="connsiteX1" fmla="*/ 2867377 w 12192000"/>
              <a:gd name="connsiteY1" fmla="*/ 4347777 h 6858000"/>
              <a:gd name="connsiteX2" fmla="*/ 8865236 w 12192000"/>
              <a:gd name="connsiteY2" fmla="*/ 4347777 h 6858000"/>
              <a:gd name="connsiteX3" fmla="*/ 9324624 w 12192000"/>
              <a:gd name="connsiteY3" fmla="*/ 2510223 h 6858000"/>
              <a:gd name="connsiteX4" fmla="*/ 0 w 12192000"/>
              <a:gd name="connsiteY4" fmla="*/ 0 h 6858000"/>
              <a:gd name="connsiteX5" fmla="*/ 12192000 w 12192000"/>
              <a:gd name="connsiteY5" fmla="*/ 0 h 6858000"/>
              <a:gd name="connsiteX6" fmla="*/ 12192000 w 12192000"/>
              <a:gd name="connsiteY6" fmla="*/ 6858000 h 6858000"/>
              <a:gd name="connsiteX7" fmla="*/ 0 w 12192000"/>
              <a:gd name="connsiteY7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12192000" h="6858000">
                <a:moveTo>
                  <a:pt x="3326766" y="2510223"/>
                </a:moveTo>
                <a:lnTo>
                  <a:pt x="2867377" y="4347777"/>
                </a:lnTo>
                <a:lnTo>
                  <a:pt x="8865236" y="4347777"/>
                </a:lnTo>
                <a:lnTo>
                  <a:pt x="9324624" y="2510223"/>
                </a:lnTo>
                <a:close/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  <a:ln>
            <a:noFill/>
          </a:ln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endParaRPr lang="en-GB"/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37217F3B-4E19-DA40-9870-894D7AFF9A5D}"/>
              </a:ext>
            </a:extLst>
          </p:cNvPr>
          <p:cNvGrpSpPr/>
          <p:nvPr userDrawn="1"/>
        </p:nvGrpSpPr>
        <p:grpSpPr>
          <a:xfrm>
            <a:off x="2865016" y="2510223"/>
            <a:ext cx="6459609" cy="1838779"/>
            <a:chOff x="3177862" y="1726988"/>
            <a:chExt cx="5741356" cy="1634323"/>
          </a:xfrm>
        </p:grpSpPr>
        <p:sp>
          <p:nvSpPr>
            <p:cNvPr id="11" name="Parallelogram 10">
              <a:extLst>
                <a:ext uri="{FF2B5EF4-FFF2-40B4-BE49-F238E27FC236}">
                  <a16:creationId xmlns:a16="http://schemas.microsoft.com/office/drawing/2014/main" id="{6CAEE805-63ED-6B48-8B2A-2FB30518AADD}"/>
                </a:ext>
              </a:extLst>
            </p:cNvPr>
            <p:cNvSpPr/>
            <p:nvPr/>
          </p:nvSpPr>
          <p:spPr>
            <a:xfrm>
              <a:off x="3179961" y="1726988"/>
              <a:ext cx="5739257" cy="1633234"/>
            </a:xfrm>
            <a:prstGeom prst="parallelogram">
              <a:avLst/>
            </a:prstGeom>
            <a:solidFill>
              <a:schemeClr val="tx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E9D09AFE-B5F4-C349-A449-33260D054FFF}"/>
                </a:ext>
              </a:extLst>
            </p:cNvPr>
            <p:cNvSpPr txBox="1"/>
            <p:nvPr/>
          </p:nvSpPr>
          <p:spPr>
            <a:xfrm>
              <a:off x="3570048" y="1910307"/>
              <a:ext cx="4959081" cy="1107896"/>
            </a:xfrm>
            <a:prstGeom prst="rect">
              <a:avLst/>
            </a:prstGeom>
            <a:noFill/>
          </p:spPr>
          <p:txBody>
            <a:bodyPr wrap="square" rtlCol="0" anchor="ctr">
              <a:spAutoFit/>
            </a:bodyPr>
            <a:lstStyle/>
            <a:p>
              <a:pPr algn="ctr"/>
              <a:r>
                <a:rPr lang="en-US" sz="7500" b="1">
                  <a:solidFill>
                    <a:schemeClr val="bg1"/>
                  </a:solidFill>
                </a:rPr>
                <a:t>Thank You</a:t>
              </a:r>
            </a:p>
          </p:txBody>
        </p:sp>
        <p:sp>
          <p:nvSpPr>
            <p:cNvPr id="13" name="Parallelogram 12">
              <a:extLst>
                <a:ext uri="{FF2B5EF4-FFF2-40B4-BE49-F238E27FC236}">
                  <a16:creationId xmlns:a16="http://schemas.microsoft.com/office/drawing/2014/main" id="{69F96486-E28B-8947-9DFE-D1163019525C}"/>
                </a:ext>
              </a:extLst>
            </p:cNvPr>
            <p:cNvSpPr/>
            <p:nvPr/>
          </p:nvSpPr>
          <p:spPr>
            <a:xfrm>
              <a:off x="3177862" y="3203443"/>
              <a:ext cx="5374812" cy="157868"/>
            </a:xfrm>
            <a:prstGeom prst="parallelogram">
              <a:avLst/>
            </a:prstGeom>
            <a:gradFill>
              <a:gsLst>
                <a:gs pos="0">
                  <a:schemeClr val="accent2"/>
                </a:gs>
                <a:gs pos="100000">
                  <a:schemeClr val="accent3"/>
                </a:gs>
              </a:gsLst>
              <a:lin ang="0" scaled="1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</p:grpSp>
    </p:spTree>
    <p:extLst>
      <p:ext uri="{BB962C8B-B14F-4D97-AF65-F5344CB8AC3E}">
        <p14:creationId xmlns:p14="http://schemas.microsoft.com/office/powerpoint/2010/main" val="520551837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92553514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+ Content -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98C29CC-6571-16C4-0A5E-9E0F6D8748FC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10">
            <a:extLst>
              <a:ext uri="{FF2B5EF4-FFF2-40B4-BE49-F238E27FC236}">
                <a16:creationId xmlns:a16="http://schemas.microsoft.com/office/drawing/2014/main" id="{A9841F99-C985-AB78-6849-672E7971F56E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4106"/>
            <a:ext cx="12192000" cy="6151390"/>
          </a:xfrm>
          <a:blipFill>
            <a:blip r:embed="rId2">
              <a:alphaModFix amt="50000"/>
            </a:blip>
            <a:stretch>
              <a:fillRect t="-1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10769600" cy="40391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3" name="Rounded Rectangle 2">
            <a:extLst>
              <a:ext uri="{FF2B5EF4-FFF2-40B4-BE49-F238E27FC236}">
                <a16:creationId xmlns:a16="http://schemas.microsoft.com/office/drawing/2014/main" id="{C28614B1-F0A0-489A-3AAD-33E68C54668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C81CFAAB-8D25-A525-5A66-7CC1F8C51AE0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81BC34C1-86ED-B6CD-4FA1-BFE76FBC98BF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384607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Image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2" name="Picture Placeholder 11">
            <a:extLst>
              <a:ext uri="{FF2B5EF4-FFF2-40B4-BE49-F238E27FC236}">
                <a16:creationId xmlns:a16="http://schemas.microsoft.com/office/drawing/2014/main" id="{E43B3FD2-9197-C746-B738-2BFD17383C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3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875868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215984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mage r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6354"/>
            <a:ext cx="60960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2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5CD65030-0296-E4D2-FE4E-25C29457A87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095448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11344098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mage lef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125B551D-5B5A-829C-5115-39B1928DFEB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16185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564799" y="279724"/>
            <a:ext cx="4990063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565350" y="2060575"/>
            <a:ext cx="4990063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A0763B5E-38DF-023F-E8B2-FB8239862B5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7B7409F4-0564-A47F-1F56-9D4E290E7DBC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-551" y="4106"/>
            <a:ext cx="6096551" cy="6151390"/>
          </a:xfrm>
          <a:blipFill>
            <a:blip r:embed="rId2">
              <a:alphaModFix amt="50000"/>
            </a:blip>
            <a:stretch>
              <a:fillRect l="-74102" t="-1" r="-25880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D49F85BC-4DBE-B406-B57B-AF66F410C89C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34426903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 w/ black box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03ED1FE6-CCD1-0F61-EEE3-77211EA183CB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8196262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8196262" cy="4108450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66FB04FF-5BAC-2BD5-FC22-039F925B7AB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0"/>
            <a:ext cx="2568575" cy="6169025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30FD9022-2914-7F52-5A0E-72641AC75369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03668483-4313-0757-44B1-0DAF434D9D0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6945667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colour + adjustable RH box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4" y="-1"/>
            <a:ext cx="2568575" cy="6169028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bg1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cxnSp>
        <p:nvCxnSpPr>
          <p:cNvPr id="7" name="Straight Connector 6">
            <a:extLst>
              <a:ext uri="{FF2B5EF4-FFF2-40B4-BE49-F238E27FC236}">
                <a16:creationId xmlns:a16="http://schemas.microsoft.com/office/drawing/2014/main" id="{6520AFED-62E3-D680-8583-5024D77E7F21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A5F6F261-3084-02CA-45B7-471636DD7D0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23727842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1E512F60-D130-DB98-71CB-5C4FFFC9D2B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33A3E4B8-D659-5EC6-927A-2121CE38D98B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2" name="Text Placeholder 20">
            <a:extLst>
              <a:ext uri="{FF2B5EF4-FFF2-40B4-BE49-F238E27FC236}">
                <a16:creationId xmlns:a16="http://schemas.microsoft.com/office/drawing/2014/main" id="{44B72F44-5AB1-E902-7CC4-B41BD904D93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9623423" y="0"/>
            <a:ext cx="2568577" cy="6169024"/>
          </a:xfrm>
          <a:blipFill>
            <a:blip r:embed="rId2">
              <a:alphaModFix amt="50000"/>
            </a:blip>
            <a:stretch>
              <a:fillRect l="-175840" r="-198820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368922119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 col w/ image + black box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6354"/>
            <a:ext cx="4495800" cy="615549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BB7B82BD-D7C9-EA27-38C8-696390309C2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9623425" y="0"/>
            <a:ext cx="2568575" cy="6155496"/>
          </a:xfr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</a:gradFill>
        </p:spPr>
        <p:txBody>
          <a:bodyPr numCol="1" spcCol="360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8000">
                <a:solidFill>
                  <a:schemeClr val="bg1"/>
                </a:solidFill>
              </a:defRPr>
            </a:lvl1pPr>
            <a:lvl2pPr algn="ctr">
              <a:spcBef>
                <a:spcPts val="0"/>
              </a:spcBef>
              <a:spcAft>
                <a:spcPts val="0"/>
              </a:spcAft>
              <a:defRPr sz="1600" b="1">
                <a:solidFill>
                  <a:schemeClr val="tx2"/>
                </a:solidFill>
              </a:defRPr>
            </a:lvl2pPr>
            <a:lvl3pPr marL="0" indent="0" algn="ctr">
              <a:lnSpc>
                <a:spcPct val="100000"/>
              </a:lnSpc>
              <a:spcBef>
                <a:spcPts val="0"/>
              </a:spcBef>
              <a:spcAft>
                <a:spcPts val="4800"/>
              </a:spcAft>
              <a:buNone/>
              <a:defRPr sz="1600">
                <a:solidFill>
                  <a:schemeClr val="bg1"/>
                </a:solidFill>
              </a:defRPr>
            </a:lvl3pPr>
            <a:lvl4pPr marL="0" indent="0" algn="ctr">
              <a:spcBef>
                <a:spcPts val="0"/>
              </a:spcBef>
              <a:spcAft>
                <a:spcPts val="0"/>
              </a:spcAft>
              <a:buNone/>
              <a:defRPr sz="1600">
                <a:solidFill>
                  <a:schemeClr val="bg1"/>
                </a:solidFill>
              </a:defRPr>
            </a:lvl4pPr>
            <a:lvl5pPr algn="ctr">
              <a:spcBef>
                <a:spcPts val="0"/>
              </a:spcBef>
              <a:spcAft>
                <a:spcPts val="0"/>
              </a:spcAft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XX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</p:txBody>
      </p:sp>
      <p:sp>
        <p:nvSpPr>
          <p:cNvPr id="13" name="Rounded Rectangle 12">
            <a:extLst>
              <a:ext uri="{FF2B5EF4-FFF2-40B4-BE49-F238E27FC236}">
                <a16:creationId xmlns:a16="http://schemas.microsoft.com/office/drawing/2014/main" id="{72AE0620-5A7D-A48E-B01F-3591700519A5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082DFB5-476D-FDB4-BD41-94507041659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 Placeholder 10">
            <a:extLst>
              <a:ext uri="{FF2B5EF4-FFF2-40B4-BE49-F238E27FC236}">
                <a16:creationId xmlns:a16="http://schemas.microsoft.com/office/drawing/2014/main" id="{5D5E23AB-5A3D-9739-B299-6AB5D2B5E24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739234114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2180F0D3-D3D2-FCBE-7CC6-8A24306B133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970357324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/3 block colour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5C62386-C2D0-5EC4-1719-ABF5CBCA155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1" name="Straight Connector 10">
            <a:extLst>
              <a:ext uri="{FF2B5EF4-FFF2-40B4-BE49-F238E27FC236}">
                <a16:creationId xmlns:a16="http://schemas.microsoft.com/office/drawing/2014/main" id="{DD0BA5EC-C268-31D2-8958-3C1653EDD95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8">
            <a:extLst>
              <a:ext uri="{FF2B5EF4-FFF2-40B4-BE49-F238E27FC236}">
                <a16:creationId xmlns:a16="http://schemas.microsoft.com/office/drawing/2014/main" id="{1E04E838-2183-E3BB-3141-D1926AC0B6D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64566056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F9959E86-D769-AF18-FB19-1E9646A2CA26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1924050" y="1901825"/>
            <a:ext cx="10267950" cy="4956175"/>
          </a:xfrm>
          <a:solidFill>
            <a:srgbClr val="EDE9E9"/>
          </a:solidFill>
        </p:spPr>
        <p:txBody>
          <a:bodyPr lIns="648000" tIns="503999" rIns="720000" bIns="36000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BD089134-C6DB-9A9F-4DA0-0BCDAC24012B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" name="Picture 6">
            <a:extLst>
              <a:ext uri="{FF2B5EF4-FFF2-40B4-BE49-F238E27FC236}">
                <a16:creationId xmlns:a16="http://schemas.microsoft.com/office/drawing/2014/main" id="{4B2EC7E2-CD96-FF88-9EF9-74E3EA4B2268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5826919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reative layout w/ image bg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8387A65D-6D84-C023-E177-352907DB2C1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416726" y="2409290"/>
            <a:ext cx="9138202" cy="3759735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itle 10">
            <a:extLst>
              <a:ext uri="{FF2B5EF4-FFF2-40B4-BE49-F238E27FC236}">
                <a16:creationId xmlns:a16="http://schemas.microsoft.com/office/drawing/2014/main" id="{0BA130C7-4808-D37A-BE2C-C22372221C7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7555463" cy="161585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4" name="Text Placeholder 9">
            <a:extLst>
              <a:ext uri="{FF2B5EF4-FFF2-40B4-BE49-F238E27FC236}">
                <a16:creationId xmlns:a16="http://schemas.microsoft.com/office/drawing/2014/main" id="{6133B677-29A5-A0EC-E6BD-A37065FD786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4266" y="0"/>
            <a:ext cx="18000" cy="687600"/>
          </a:xfrm>
          <a:solidFill>
            <a:schemeClr val="bg1"/>
          </a:soli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ounded Rectangle 6">
            <a:extLst>
              <a:ext uri="{FF2B5EF4-FFF2-40B4-BE49-F238E27FC236}">
                <a16:creationId xmlns:a16="http://schemas.microsoft.com/office/drawing/2014/main" id="{C574CA71-4FEB-E6F8-25A7-3AC9F40B9080}"/>
              </a:ext>
            </a:extLst>
          </p:cNvPr>
          <p:cNvSpPr/>
          <p:nvPr/>
        </p:nvSpPr>
        <p:spPr>
          <a:xfrm>
            <a:off x="0" y="-490506"/>
            <a:ext cx="2731089" cy="369442"/>
          </a:xfrm>
          <a:prstGeom prst="roundRect">
            <a:avLst>
              <a:gd name="adj" fmla="val 23242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NB: </a:t>
            </a:r>
            <a:r>
              <a:rPr lang="en-GB" sz="900">
                <a:solidFill>
                  <a:schemeClr val="tx1"/>
                </a:solidFill>
              </a:rPr>
              <a:t>Headline line to be used over imagery on this slide. Not to be used on statement text</a:t>
            </a:r>
            <a:endParaRPr lang="en-GB" sz="900" b="0">
              <a:solidFill>
                <a:schemeClr val="tx1"/>
              </a:solidFill>
            </a:endParaRP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902F52FF-72A7-3296-FB5A-B30071B9366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0" y="0"/>
            <a:ext cx="12192000" cy="6858000"/>
          </a:xfrm>
          <a:custGeom>
            <a:avLst/>
            <a:gdLst>
              <a:gd name="connsiteX0" fmla="*/ 12192000 w 12192000"/>
              <a:gd name="connsiteY0" fmla="*/ 0 h 6858000"/>
              <a:gd name="connsiteX1" fmla="*/ 0 w 12192000"/>
              <a:gd name="connsiteY1" fmla="*/ 0 h 6858000"/>
              <a:gd name="connsiteX2" fmla="*/ 0 w 12192000"/>
              <a:gd name="connsiteY2" fmla="*/ 1901825 h 6858000"/>
              <a:gd name="connsiteX3" fmla="*/ 10267950 w 12192000"/>
              <a:gd name="connsiteY3" fmla="*/ 1901825 h 6858000"/>
              <a:gd name="connsiteX4" fmla="*/ 10267950 w 12192000"/>
              <a:gd name="connsiteY4" fmla="*/ 6858000 h 6858000"/>
              <a:gd name="connsiteX5" fmla="*/ 1219200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12192000" y="0"/>
                </a:moveTo>
                <a:lnTo>
                  <a:pt x="0" y="0"/>
                </a:lnTo>
                <a:lnTo>
                  <a:pt x="0" y="1901825"/>
                </a:lnTo>
                <a:lnTo>
                  <a:pt x="10267950" y="1901825"/>
                </a:lnTo>
                <a:lnTo>
                  <a:pt x="10267950" y="6858000"/>
                </a:lnTo>
                <a:lnTo>
                  <a:pt x="12192000" y="6858000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 l="16936" r="-16936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10A644E-33FA-503E-CB70-FE394514D05E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88576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sic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10965600" cy="3811529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469691041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1/3 block colour RH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6169CB28-1D52-DC01-A716-31468E22FE78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131789" y="0"/>
            <a:ext cx="4495800" cy="6174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8A1BC5B-0CBD-4BA7-96DF-4842AE3F77A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9623425" y="0"/>
            <a:ext cx="2568575" cy="6169025"/>
          </a:xfrm>
          <a:solidFill>
            <a:schemeClr val="bg2">
              <a:lumMod val="20000"/>
              <a:lumOff val="80000"/>
            </a:schemeClr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785813" y="2060575"/>
            <a:ext cx="4345538" cy="4108450"/>
          </a:xfrm>
        </p:spPr>
        <p:txBody>
          <a:bodyPr numCol="1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706D0988-1731-EBBF-16FB-1BEAD56FBF6F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32FD5D9B-38B1-026F-FD40-7983242F6124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5130800" y="4106"/>
            <a:ext cx="4491635" cy="6151390"/>
          </a:xfrm>
          <a:blipFill>
            <a:blip r:embed="rId2">
              <a:alphaModFix amt="50000"/>
            </a:blip>
            <a:stretch>
              <a:fillRect l="-114230" t="-1" r="-57208" b="-1148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EC772E9-69F2-44C7-EA22-CD86A7199668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699375" y="1368425"/>
            <a:ext cx="4492625" cy="34290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432000" tIns="360000" rIns="432000" b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7526684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>
            <a:extLst>
              <a:ext uri="{FF2B5EF4-FFF2-40B4-BE49-F238E27FC236}">
                <a16:creationId xmlns:a16="http://schemas.microsoft.com/office/drawing/2014/main" id="{F70E4B20-641F-3298-D4EA-BE9FF202FA64}"/>
              </a:ext>
            </a:extLst>
          </p:cNvPr>
          <p:cNvSpPr/>
          <p:nvPr/>
        </p:nvSpPr>
        <p:spPr>
          <a:xfrm>
            <a:off x="5129603" y="3428999"/>
            <a:ext cx="4496997" cy="274002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0"/>
            <a:ext cx="51308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2060576"/>
            <a:ext cx="4192601" cy="4108450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30801" y="1"/>
            <a:ext cx="4492622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10">
            <a:extLst>
              <a:ext uri="{FF2B5EF4-FFF2-40B4-BE49-F238E27FC236}">
                <a16:creationId xmlns:a16="http://schemas.microsoft.com/office/drawing/2014/main" id="{E2F26926-A7AB-71E8-9853-4F38F51C877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5679547" y="3429000"/>
            <a:ext cx="3419298" cy="2740025"/>
          </a:xfrm>
        </p:spPr>
        <p:txBody>
          <a:bodyPr tIns="180000" bIns="180000" anchor="ctr"/>
          <a:lstStyle>
            <a:lvl1pPr>
              <a:spcAft>
                <a:spcPts val="0"/>
              </a:spcAft>
              <a:buClr>
                <a:schemeClr val="bg1"/>
              </a:buClr>
              <a:defRPr sz="1400" b="1"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5871BA91-8C48-CB81-ED47-208A0F06840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31CFDAA-393B-7D7A-F874-E9148C1E9D0C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522648696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bout us alternativ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B4DD64C1-1627-ABB6-D3CF-00E6689F64B5}"/>
              </a:ext>
            </a:extLst>
          </p:cNvPr>
          <p:cNvSpPr/>
          <p:nvPr/>
        </p:nvSpPr>
        <p:spPr>
          <a:xfrm>
            <a:off x="1" y="1"/>
            <a:ext cx="5130800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46069711-D5BC-074A-575D-A5C8ADAA514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9623423" y="1"/>
            <a:ext cx="2569775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5"/>
            <a:ext cx="4193133" cy="612098"/>
          </a:xfrm>
        </p:spPr>
        <p:txBody>
          <a:bodyPr/>
          <a:lstStyle/>
          <a:p>
            <a:r>
              <a:rPr lang="en-GB"/>
              <a:t>About u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785813" y="722138"/>
            <a:ext cx="4193133" cy="1236133"/>
          </a:xfrm>
        </p:spPr>
        <p:txBody>
          <a:bodyPr numCol="1" spcCol="360000"/>
          <a:lstStyle>
            <a:lvl1pPr>
              <a:lnSpc>
                <a:spcPct val="120000"/>
              </a:lnSpc>
              <a:spcAft>
                <a:spcPts val="0"/>
              </a:spcAft>
              <a:defRPr sz="2000" b="1"/>
            </a:lvl1pPr>
            <a:lvl2pPr>
              <a:lnSpc>
                <a:spcPct val="120000"/>
              </a:lnSpc>
              <a:spcAft>
                <a:spcPts val="0"/>
              </a:spcAft>
              <a:defRPr sz="1400">
                <a:solidFill>
                  <a:schemeClr val="tx1"/>
                </a:solidFill>
              </a:defRPr>
            </a:lvl2pPr>
            <a:lvl3pPr marL="0" indent="0">
              <a:lnSpc>
                <a:spcPct val="120000"/>
              </a:lnSpc>
              <a:spcAft>
                <a:spcPts val="0"/>
              </a:spcAft>
              <a:buNone/>
              <a:defRPr sz="1400" b="1">
                <a:solidFill>
                  <a:schemeClr val="tx2"/>
                </a:solidFill>
              </a:defRPr>
            </a:lvl3pPr>
          </a:lstStyle>
          <a:p>
            <a:pPr lvl="0"/>
            <a:r>
              <a:rPr lang="en-GB"/>
              <a:t>Name Surname</a:t>
            </a:r>
          </a:p>
          <a:p>
            <a:pPr marL="0" marR="0" lvl="1" indent="0" algn="l" defTabSz="363702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/>
              <a:buNone/>
              <a:tabLst/>
              <a:defRPr/>
            </a:pPr>
            <a:r>
              <a:rPr lang="en-GB"/>
              <a:t>Personal Gender Pronouns</a:t>
            </a:r>
          </a:p>
          <a:p>
            <a:pPr lvl="2"/>
            <a:r>
              <a:rPr lang="en-GB"/>
              <a:t>Job Title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1FDF1546-854E-5AEA-B461-BEBE0FF2394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785813" y="3871414"/>
            <a:ext cx="8196262" cy="2297612"/>
          </a:xfrm>
        </p:spPr>
        <p:txBody>
          <a:bodyPr numCol="2" spcCol="36000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B4A39F78-EBBB-48C6-FED1-4F6DF296DE4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122306" y="1"/>
            <a:ext cx="4501117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10">
            <a:extLst>
              <a:ext uri="{FF2B5EF4-FFF2-40B4-BE49-F238E27FC236}">
                <a16:creationId xmlns:a16="http://schemas.microsoft.com/office/drawing/2014/main" id="{8E295680-BBDD-4439-F9C1-7D05EDD12424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785813" y="2066362"/>
            <a:ext cx="4192582" cy="1368990"/>
          </a:xfrm>
        </p:spPr>
        <p:txBody>
          <a:bodyPr numCol="1" spcCol="360000"/>
          <a:lstStyle>
            <a:lvl1pPr>
              <a:spcAft>
                <a:spcPts val="600"/>
              </a:spcAft>
              <a:defRPr sz="2000">
                <a:solidFill>
                  <a:schemeClr val="tx2"/>
                </a:solidFill>
              </a:defRPr>
            </a:lvl1pPr>
            <a:lvl2pPr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</p:txBody>
      </p:sp>
      <p:sp>
        <p:nvSpPr>
          <p:cNvPr id="10" name="Rounded Rectangle 9">
            <a:extLst>
              <a:ext uri="{FF2B5EF4-FFF2-40B4-BE49-F238E27FC236}">
                <a16:creationId xmlns:a16="http://schemas.microsoft.com/office/drawing/2014/main" id="{2AECFDEA-E3D1-5065-AAFE-4D2554A70741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EC995EDD-691D-B5E3-2A28-A2393A22F194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8088531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3D33C581-B6B9-DC60-BD58-9247567D9C8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9" name="Text Placeholder 20">
            <a:extLst>
              <a:ext uri="{FF2B5EF4-FFF2-40B4-BE49-F238E27FC236}">
                <a16:creationId xmlns:a16="http://schemas.microsoft.com/office/drawing/2014/main" id="{CD565C36-C22C-DCBB-DA43-FE673C201C6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solidFill>
            <a:srgbClr val="EDE9E9"/>
          </a:soli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defRPr sz="2000" b="1">
                <a:solidFill>
                  <a:schemeClr val="tx2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defRPr sz="1600">
                <a:solidFill>
                  <a:schemeClr val="tx1"/>
                </a:solidFill>
              </a:defRPr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79534035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g points blac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5">
            <a:extLst>
              <a:ext uri="{FF2B5EF4-FFF2-40B4-BE49-F238E27FC236}">
                <a16:creationId xmlns:a16="http://schemas.microsoft.com/office/drawing/2014/main" id="{E38E8F08-EAE3-3623-1104-E02DF47541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9000"/>
            <a:ext cx="12193200" cy="2740026"/>
          </a:xfrm>
          <a:solidFill>
            <a:schemeClr val="bg1">
              <a:lumMod val="50000"/>
            </a:schemeClr>
          </a:solidFill>
        </p:spPr>
        <p:txBody>
          <a:bodyPr anchor="b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46A93EE1-5BB6-EE64-34F8-ED2A42E3D5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EA0D79DC-8324-FFD4-B65A-57CD21DF163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1" name="Rounded Rectangle 10">
            <a:extLst>
              <a:ext uri="{FF2B5EF4-FFF2-40B4-BE49-F238E27FC236}">
                <a16:creationId xmlns:a16="http://schemas.microsoft.com/office/drawing/2014/main" id="{C8DEB7F9-27FF-E5EF-B365-24F2EE393EF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9E7D8793-B38F-20CB-7EE2-69DA969D183B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3428996"/>
            <a:ext cx="12192000" cy="2740027"/>
          </a:xfrm>
          <a:blipFill>
            <a:blip r:embed="rId2">
              <a:alphaModFix/>
            </a:blip>
            <a:stretch>
              <a:fillRect t="-50534" b="-99755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279525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Text Placeholder 7">
            <a:extLst>
              <a:ext uri="{FF2B5EF4-FFF2-40B4-BE49-F238E27FC236}">
                <a16:creationId xmlns:a16="http://schemas.microsoft.com/office/drawing/2014/main" id="{033334E3-4F05-ECF6-2E02-F55F1E7274D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11713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7" name="Text Placeholder 7">
            <a:extLst>
              <a:ext uri="{FF2B5EF4-FFF2-40B4-BE49-F238E27FC236}">
                <a16:creationId xmlns:a16="http://schemas.microsoft.com/office/drawing/2014/main" id="{543A0CCB-11D5-E8CA-53B5-294042D27A8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0780" y="2060576"/>
            <a:ext cx="2568575" cy="2740026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  <a:tileRect/>
          </a:gradFill>
        </p:spPr>
        <p:txBody>
          <a:bodyPr lIns="180000" tIns="72000" rIns="180000" bIns="72000" anchor="ctr"/>
          <a:lstStyle>
            <a:lvl1pPr algn="ctr">
              <a:lnSpc>
                <a:spcPct val="100000"/>
              </a:lnSpc>
              <a:spcAft>
                <a:spcPts val="0"/>
              </a:spcAft>
              <a:buClr>
                <a:schemeClr val="bg1"/>
              </a:buClr>
              <a:defRPr sz="2000" b="1">
                <a:solidFill>
                  <a:schemeClr val="bg1"/>
                </a:solidFill>
              </a:defRPr>
            </a:lvl1pPr>
            <a:lvl2pPr algn="ctr">
              <a:lnSpc>
                <a:spcPct val="110000"/>
              </a:lnSpc>
              <a:spcAft>
                <a:spcPts val="600"/>
              </a:spcAft>
              <a:buClr>
                <a:schemeClr val="bg1"/>
              </a:buClr>
              <a:defRPr sz="1600"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504374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_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Rectangle 23">
            <a:extLst>
              <a:ext uri="{FF2B5EF4-FFF2-40B4-BE49-F238E27FC236}">
                <a16:creationId xmlns:a16="http://schemas.microsoft.com/office/drawing/2014/main" id="{DA44B275-69D4-B04B-1870-AF3F8C3B4212}"/>
              </a:ext>
            </a:extLst>
          </p:cNvPr>
          <p:cNvSpPr/>
          <p:nvPr/>
        </p:nvSpPr>
        <p:spPr>
          <a:xfrm>
            <a:off x="0" y="0"/>
            <a:ext cx="12192000" cy="68681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E5EEAFF0-3BA8-91BA-47CC-5622E7098BDE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 flipH="1">
            <a:off x="4552950" y="0"/>
            <a:ext cx="7345434" cy="6858000"/>
          </a:xfrm>
          <a:custGeom>
            <a:avLst/>
            <a:gdLst>
              <a:gd name="connsiteX0" fmla="*/ 6139838 w 7345434"/>
              <a:gd name="connsiteY0" fmla="*/ 0 h 6858000"/>
              <a:gd name="connsiteX1" fmla="*/ 0 w 7345434"/>
              <a:gd name="connsiteY1" fmla="*/ 0 h 6858000"/>
              <a:gd name="connsiteX2" fmla="*/ 0 w 7345434"/>
              <a:gd name="connsiteY2" fmla="*/ 6858000 h 6858000"/>
              <a:gd name="connsiteX3" fmla="*/ 6139838 w 7345434"/>
              <a:gd name="connsiteY3" fmla="*/ 6858000 h 6858000"/>
              <a:gd name="connsiteX4" fmla="*/ 2710838 w 7345434"/>
              <a:gd name="connsiteY4" fmla="*/ 3429000 h 6858000"/>
              <a:gd name="connsiteX5" fmla="*/ 7345434 w 7345434"/>
              <a:gd name="connsiteY5" fmla="*/ 0 h 6858000"/>
              <a:gd name="connsiteX6" fmla="*/ 6911252 w 7345434"/>
              <a:gd name="connsiteY6" fmla="*/ 0 h 6858000"/>
              <a:gd name="connsiteX7" fmla="*/ 3483292 w 7345434"/>
              <a:gd name="connsiteY7" fmla="*/ 3429000 h 6858000"/>
              <a:gd name="connsiteX8" fmla="*/ 6911252 w 7345434"/>
              <a:gd name="connsiteY8" fmla="*/ 6858000 h 6858000"/>
              <a:gd name="connsiteX9" fmla="*/ 7345434 w 7345434"/>
              <a:gd name="connsiteY9" fmla="*/ 6858000 h 6858000"/>
              <a:gd name="connsiteX10" fmla="*/ 3917474 w 7345434"/>
              <a:gd name="connsiteY10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7345434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  <a:moveTo>
                  <a:pt x="7345434" y="0"/>
                </a:moveTo>
                <a:lnTo>
                  <a:pt x="6911252" y="0"/>
                </a:lnTo>
                <a:lnTo>
                  <a:pt x="3483292" y="3429000"/>
                </a:lnTo>
                <a:lnTo>
                  <a:pt x="6911252" y="6858000"/>
                </a:lnTo>
                <a:lnTo>
                  <a:pt x="7345434" y="6858000"/>
                </a:lnTo>
                <a:lnTo>
                  <a:pt x="3917474" y="3429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943214" y="2819935"/>
            <a:ext cx="5482521" cy="2021006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17" name="Text Placeholder 17">
            <a:extLst>
              <a:ext uri="{FF2B5EF4-FFF2-40B4-BE49-F238E27FC236}">
                <a16:creationId xmlns:a16="http://schemas.microsoft.com/office/drawing/2014/main" id="{C209F012-97B9-34AE-5B30-9A5B209B7B07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559913" y="2872189"/>
            <a:ext cx="19800" cy="3996000"/>
          </a:xfrm>
          <a:gradFill>
            <a:gsLst>
              <a:gs pos="100000">
                <a:schemeClr val="tx2"/>
              </a:gs>
              <a:gs pos="0">
                <a:schemeClr val="accent1"/>
              </a:gs>
            </a:gsLst>
            <a:lin ang="5400000" scaled="1"/>
          </a:gradFill>
        </p:spPr>
        <p:txBody>
          <a:bodyPr/>
          <a:lstStyle>
            <a:lvl1pPr>
              <a:defRPr>
                <a:noFill/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18" name="Text Placeholder 17">
            <a:extLst>
              <a:ext uri="{FF2B5EF4-FFF2-40B4-BE49-F238E27FC236}">
                <a16:creationId xmlns:a16="http://schemas.microsoft.com/office/drawing/2014/main" id="{B450166F-B005-6513-0B87-C30ACE4F3517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943214" y="5603593"/>
            <a:ext cx="3547585" cy="862012"/>
          </a:xfrm>
          <a:ln>
            <a:noFill/>
          </a:ln>
        </p:spPr>
        <p:txBody>
          <a:bodyPr anchor="b"/>
          <a:lstStyle>
            <a:lvl1pPr algn="l">
              <a:defRPr sz="3200">
                <a:ln w="1270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US"/>
              <a:t>00 00 2022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899FFD4-FA9E-70DC-9160-F5259E5DC45B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 flipH="1">
            <a:off x="5758546" y="0"/>
            <a:ext cx="6139838" cy="6858000"/>
          </a:xfrm>
          <a:custGeom>
            <a:avLst/>
            <a:gdLst>
              <a:gd name="connsiteX0" fmla="*/ 6139838 w 6139838"/>
              <a:gd name="connsiteY0" fmla="*/ 0 h 6858000"/>
              <a:gd name="connsiteX1" fmla="*/ 0 w 6139838"/>
              <a:gd name="connsiteY1" fmla="*/ 0 h 6858000"/>
              <a:gd name="connsiteX2" fmla="*/ 0 w 6139838"/>
              <a:gd name="connsiteY2" fmla="*/ 6858000 h 6858000"/>
              <a:gd name="connsiteX3" fmla="*/ 6139838 w 6139838"/>
              <a:gd name="connsiteY3" fmla="*/ 6858000 h 6858000"/>
              <a:gd name="connsiteX4" fmla="*/ 2710838 w 6139838"/>
              <a:gd name="connsiteY4" fmla="*/ 3429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139838" h="6858000">
                <a:moveTo>
                  <a:pt x="6139838" y="0"/>
                </a:moveTo>
                <a:lnTo>
                  <a:pt x="0" y="0"/>
                </a:lnTo>
                <a:lnTo>
                  <a:pt x="0" y="6858000"/>
                </a:lnTo>
                <a:lnTo>
                  <a:pt x="6139838" y="6858000"/>
                </a:lnTo>
                <a:lnTo>
                  <a:pt x="2710838" y="3429000"/>
                </a:lnTo>
                <a:close/>
              </a:path>
            </a:pathLst>
          </a:custGeom>
          <a:blipFill>
            <a:blip r:embed="rId2"/>
            <a:stretch>
              <a:fillRect l="-80576" r="-12412"/>
            </a:stretch>
          </a:blipFill>
        </p:spPr>
        <p:txBody>
          <a:bodyPr wrap="square" anchor="ctr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0C373FF0-5F44-89E3-17F1-2080738C163E}"/>
              </a:ext>
            </a:extLst>
          </p:cNvPr>
          <p:cNvSpPr/>
          <p:nvPr/>
        </p:nvSpPr>
        <p:spPr>
          <a:xfrm rot="5400000">
            <a:off x="8616191" y="3282192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2" name="Picture 1" descr="Shape&#10;&#10;Description automatically generated with medium confidence">
            <a:extLst>
              <a:ext uri="{FF2B5EF4-FFF2-40B4-BE49-F238E27FC236}">
                <a16:creationId xmlns:a16="http://schemas.microsoft.com/office/drawing/2014/main" id="{041999A7-1D87-CEC6-2CB8-D328257B716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86556" y="792687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81219822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v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BCA69199-CD81-3AE8-8664-40164A4480E5}"/>
              </a:ext>
            </a:extLst>
          </p:cNvPr>
          <p:cNvSpPr/>
          <p:nvPr/>
        </p:nvSpPr>
        <p:spPr>
          <a:xfrm>
            <a:off x="0" y="-4102"/>
            <a:ext cx="12192000" cy="6862102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6" name="Picture Placeholder 15">
            <a:extLst>
              <a:ext uri="{FF2B5EF4-FFF2-40B4-BE49-F238E27FC236}">
                <a16:creationId xmlns:a16="http://schemas.microsoft.com/office/drawing/2014/main" id="{94A38477-3147-8640-60A1-8D159D48FB5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9334042" cy="6858000"/>
          </a:xfrm>
          <a:custGeom>
            <a:avLst/>
            <a:gdLst>
              <a:gd name="connsiteX0" fmla="*/ 0 w 9334042"/>
              <a:gd name="connsiteY0" fmla="*/ 0 h 6858000"/>
              <a:gd name="connsiteX1" fmla="*/ 9334042 w 9334042"/>
              <a:gd name="connsiteY1" fmla="*/ 0 h 6858000"/>
              <a:gd name="connsiteX2" fmla="*/ 9334042 w 9334042"/>
              <a:gd name="connsiteY2" fmla="*/ 6858000 h 6858000"/>
              <a:gd name="connsiteX3" fmla="*/ 7699375 w 9334042"/>
              <a:gd name="connsiteY3" fmla="*/ 6858000 h 6858000"/>
              <a:gd name="connsiteX4" fmla="*/ 7699375 w 9334042"/>
              <a:gd name="connsiteY4" fmla="*/ 2060575 h 6858000"/>
              <a:gd name="connsiteX5" fmla="*/ 0 w 9334042"/>
              <a:gd name="connsiteY5" fmla="*/ 2060575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8000">
                <a:moveTo>
                  <a:pt x="0" y="0"/>
                </a:moveTo>
                <a:lnTo>
                  <a:pt x="9334042" y="0"/>
                </a:lnTo>
                <a:lnTo>
                  <a:pt x="9334042" y="6858000"/>
                </a:lnTo>
                <a:lnTo>
                  <a:pt x="7699375" y="6858000"/>
                </a:lnTo>
                <a:lnTo>
                  <a:pt x="7699375" y="2060575"/>
                </a:lnTo>
                <a:lnTo>
                  <a:pt x="0" y="2060575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980C02F7-7386-FF76-B2DD-EDFBCC9D07CF}"/>
              </a:ext>
            </a:extLst>
          </p:cNvPr>
          <p:cNvSpPr/>
          <p:nvPr/>
        </p:nvSpPr>
        <p:spPr>
          <a:xfrm>
            <a:off x="9334042" y="3429000"/>
            <a:ext cx="2857957" cy="3429000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FF8CB4C-8678-4A3C-7D3C-466A9CBDAC4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010693" y="184229"/>
            <a:ext cx="2002578" cy="2581275"/>
          </a:xfrm>
        </p:spPr>
        <p:txBody>
          <a:bodyPr/>
          <a:lstStyle>
            <a:lvl1pPr algn="r">
              <a:lnSpc>
                <a:spcPts val="5500"/>
              </a:lnSpc>
              <a:spcAft>
                <a:spcPts val="0"/>
              </a:spcAft>
              <a:defRPr sz="6000">
                <a:ln w="19050">
                  <a:solidFill>
                    <a:schemeClr val="bg1"/>
                  </a:solidFill>
                </a:ln>
              </a:defRPr>
            </a:lvl1pPr>
          </a:lstStyle>
          <a:p>
            <a:pPr lvl="0"/>
            <a:r>
              <a:rPr lang="en-GB"/>
              <a:t>02 03 23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D1B5A42E-81C0-743F-F7F1-74B73C934CD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0010692" y="3635296"/>
            <a:ext cx="2013730" cy="3038475"/>
          </a:xfrm>
        </p:spPr>
        <p:txBody>
          <a:bodyPr/>
          <a:lstStyle>
            <a:lvl1pPr algn="r">
              <a:lnSpc>
                <a:spcPct val="80000"/>
              </a:lnSpc>
              <a:spcAft>
                <a:spcPts val="600"/>
              </a:spcAft>
              <a:defRPr sz="2000" b="1">
                <a:gradFill>
                  <a:gsLst>
                    <a:gs pos="0">
                      <a:schemeClr val="tx2"/>
                    </a:gs>
                    <a:gs pos="99000">
                      <a:schemeClr val="accent1"/>
                    </a:gs>
                  </a:gsLst>
                  <a:lin ang="0" scaled="1"/>
                </a:gradFill>
              </a:defRPr>
            </a:lvl1pPr>
            <a:lvl2pPr algn="r">
              <a:lnSpc>
                <a:spcPct val="80000"/>
              </a:lnSpc>
              <a:spcAft>
                <a:spcPts val="600"/>
              </a:spcAft>
              <a:defRPr sz="3600">
                <a:solidFill>
                  <a:schemeClr val="tx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ubtitle</a:t>
            </a:r>
          </a:p>
          <a:p>
            <a:pPr lvl="1"/>
            <a:r>
              <a:rPr lang="en-GB"/>
              <a:t>Title</a:t>
            </a:r>
          </a:p>
        </p:txBody>
      </p:sp>
      <p:sp>
        <p:nvSpPr>
          <p:cNvPr id="47" name="Text Placeholder 14">
            <a:extLst>
              <a:ext uri="{FF2B5EF4-FFF2-40B4-BE49-F238E27FC236}">
                <a16:creationId xmlns:a16="http://schemas.microsoft.com/office/drawing/2014/main" id="{6A846FCB-399B-21A4-32EC-0FE3577ECA8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59750"/>
            <a:ext cx="5535806" cy="220927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54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Presentation title goes here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7" name="Rectangle 16">
            <a:extLst>
              <a:ext uri="{FF2B5EF4-FFF2-40B4-BE49-F238E27FC236}">
                <a16:creationId xmlns:a16="http://schemas.microsoft.com/office/drawing/2014/main" id="{0F4F7150-D1AC-26A5-634F-D2D5E4501534}"/>
              </a:ext>
            </a:extLst>
          </p:cNvPr>
          <p:cNvSpPr/>
          <p:nvPr/>
        </p:nvSpPr>
        <p:spPr>
          <a:xfrm rot="5400000">
            <a:off x="6049798" y="3280141"/>
            <a:ext cx="6862101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55D96883-B78C-1832-A07E-53817D111FE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" y="4106"/>
            <a:ext cx="9334042" cy="6853894"/>
          </a:xfrm>
          <a:custGeom>
            <a:avLst/>
            <a:gdLst>
              <a:gd name="connsiteX0" fmla="*/ 0 w 9334042"/>
              <a:gd name="connsiteY0" fmla="*/ 0 h 6853894"/>
              <a:gd name="connsiteX1" fmla="*/ 9334042 w 9334042"/>
              <a:gd name="connsiteY1" fmla="*/ 0 h 6853894"/>
              <a:gd name="connsiteX2" fmla="*/ 9334042 w 9334042"/>
              <a:gd name="connsiteY2" fmla="*/ 6853894 h 6853894"/>
              <a:gd name="connsiteX3" fmla="*/ 7696199 w 9334042"/>
              <a:gd name="connsiteY3" fmla="*/ 6853894 h 6853894"/>
              <a:gd name="connsiteX4" fmla="*/ 7696199 w 9334042"/>
              <a:gd name="connsiteY4" fmla="*/ 2053294 h 6853894"/>
              <a:gd name="connsiteX5" fmla="*/ 0 w 9334042"/>
              <a:gd name="connsiteY5" fmla="*/ 2053294 h 68538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9334042" h="6853894">
                <a:moveTo>
                  <a:pt x="0" y="0"/>
                </a:moveTo>
                <a:lnTo>
                  <a:pt x="9334042" y="0"/>
                </a:lnTo>
                <a:lnTo>
                  <a:pt x="9334042" y="6853894"/>
                </a:lnTo>
                <a:lnTo>
                  <a:pt x="7696199" y="6853894"/>
                </a:lnTo>
                <a:lnTo>
                  <a:pt x="7696199" y="2053294"/>
                </a:lnTo>
                <a:lnTo>
                  <a:pt x="0" y="2053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796" r="-28823" b="-60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pic>
        <p:nvPicPr>
          <p:cNvPr id="4" name="Picture 3" descr="Shape&#10;&#10;Description automatically generated with medium confidence">
            <a:extLst>
              <a:ext uri="{FF2B5EF4-FFF2-40B4-BE49-F238E27FC236}">
                <a16:creationId xmlns:a16="http://schemas.microsoft.com/office/drawing/2014/main" id="{D1511A32-0E34-883E-0899-FBFC82E98F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6684436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hank you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C66891BD-BBF2-859D-FF8B-5090A5DC79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377C7D6C-0B03-2151-AB26-18A9DA82F70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E0342835-76CA-EF1B-C6A6-EBD88D5B9D4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6858000 h 6858000"/>
              <a:gd name="connsiteX3" fmla="*/ 8002136 w 12192000"/>
              <a:gd name="connsiteY3" fmla="*/ 6858000 h 6858000"/>
              <a:gd name="connsiteX4" fmla="*/ 8002136 w 12192000"/>
              <a:gd name="connsiteY4" fmla="*/ 1757081 h 6858000"/>
              <a:gd name="connsiteX5" fmla="*/ 0 w 12192000"/>
              <a:gd name="connsiteY5" fmla="*/ 1757081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8002136" y="6858000"/>
                </a:lnTo>
                <a:lnTo>
                  <a:pt x="8002136" y="1757081"/>
                </a:lnTo>
                <a:lnTo>
                  <a:pt x="0" y="1757081"/>
                </a:lnTo>
                <a:close/>
              </a:path>
            </a:pathLst>
          </a:custGeo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48" name="Text Placeholder 9">
            <a:extLst>
              <a:ext uri="{FF2B5EF4-FFF2-40B4-BE49-F238E27FC236}">
                <a16:creationId xmlns:a16="http://schemas.microsoft.com/office/drawing/2014/main" id="{F5F3F589-F9C1-DEA1-DC92-7F395BA1E7D2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40797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Text Placeholder 14">
            <a:extLst>
              <a:ext uri="{FF2B5EF4-FFF2-40B4-BE49-F238E27FC236}">
                <a16:creationId xmlns:a16="http://schemas.microsoft.com/office/drawing/2014/main" id="{3E3857DA-45E2-E593-E020-122BE12AB60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80869" y="3917320"/>
            <a:ext cx="6316536" cy="2528155"/>
          </a:xfrm>
        </p:spPr>
        <p:txBody>
          <a:bodyPr/>
          <a:lstStyle>
            <a:lvl1pPr algn="l">
              <a:lnSpc>
                <a:spcPct val="80000"/>
              </a:lnSpc>
              <a:spcAft>
                <a:spcPts val="600"/>
              </a:spcAft>
              <a:defRPr sz="8800" b="0"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3600" b="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Thank you</a:t>
            </a: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E04F3135-DD22-391A-0ED3-CEEF04756149}"/>
              </a:ext>
            </a:extLst>
          </p:cNvPr>
          <p:cNvSpPr/>
          <p:nvPr/>
        </p:nvSpPr>
        <p:spPr>
          <a:xfrm rot="5400000">
            <a:off x="5308294" y="4160733"/>
            <a:ext cx="5100918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3" name="Picture 2" descr="Shape&#10;&#10;Description automatically generated with medium confidence">
            <a:extLst>
              <a:ext uri="{FF2B5EF4-FFF2-40B4-BE49-F238E27FC236}">
                <a16:creationId xmlns:a16="http://schemas.microsoft.com/office/drawing/2014/main" id="{41F152FB-AC11-B954-3CEB-99F2B3090CE1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80707" y="2739678"/>
            <a:ext cx="2993493" cy="7903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8956805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genda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CC0A0410-718F-647E-2293-D8ADDF4C848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51" y="0"/>
            <a:ext cx="3848100" cy="6858000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Text Placeholder 10">
            <a:extLst>
              <a:ext uri="{FF2B5EF4-FFF2-40B4-BE49-F238E27FC236}">
                <a16:creationId xmlns:a16="http://schemas.microsoft.com/office/drawing/2014/main" id="{6D612525-6838-411E-0B94-027DE0BC2148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3206749" y="-2"/>
            <a:ext cx="3848102" cy="6858000"/>
          </a:xfrm>
          <a:blipFill>
            <a:blip r:embed="rId2">
              <a:alphaModFix amt="75000"/>
            </a:blip>
            <a:stretch>
              <a:fillRect l="-108416" r="-108416"/>
            </a:stretch>
          </a:blipFill>
        </p:spPr>
        <p:txBody>
          <a:bodyPr anchor="ctr"/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33E2D861-3CBF-27C2-8E2B-DED3EDFB82BA}"/>
              </a:ext>
            </a:extLst>
          </p:cNvPr>
          <p:cNvSpPr/>
          <p:nvPr/>
        </p:nvSpPr>
        <p:spPr>
          <a:xfrm>
            <a:off x="0" y="-1"/>
            <a:ext cx="320675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CC3AF39E-76CB-396B-E689-B646697B6C2B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E26C92EE-3BFD-03D8-7F01-5532E462A69B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82" y="2743200"/>
            <a:ext cx="18000" cy="4114800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3C813DF5-3330-9FF9-F36C-EE2A88A47019}"/>
              </a:ext>
            </a:extLst>
          </p:cNvPr>
          <p:cNvSpPr/>
          <p:nvPr/>
        </p:nvSpPr>
        <p:spPr>
          <a:xfrm rot="5400000">
            <a:off x="3772658" y="3282193"/>
            <a:ext cx="6858002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A7734993-CF7B-54A0-5959-C84728AA0A35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151285" y="2743200"/>
            <a:ext cx="4624039" cy="2743200"/>
          </a:xfrm>
          <a:solidFill>
            <a:schemeClr val="bg1"/>
          </a:solidFill>
        </p:spPr>
        <p:txBody>
          <a:bodyPr anchor="ctr"/>
          <a:lstStyle>
            <a:lvl1pPr>
              <a:lnSpc>
                <a:spcPct val="80000"/>
              </a:lnSpc>
              <a:spcAft>
                <a:spcPts val="0"/>
              </a:spcAft>
              <a:defRPr sz="7200">
                <a:solidFill>
                  <a:schemeClr val="tx1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GB"/>
              <a:t>Today’s agenda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D7CC7DDB-16E2-0D42-A085-BFE5DAC44CE7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36189326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48700F36-2416-7D9C-6314-B610679C7916}"/>
              </a:ext>
            </a:extLst>
          </p:cNvPr>
          <p:cNvSpPr/>
          <p:nvPr/>
        </p:nvSpPr>
        <p:spPr>
          <a:xfrm rot="5400000">
            <a:off x="9992555" y="1912183"/>
            <a:ext cx="4105274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2" y="4111626"/>
            <a:ext cx="12192001" cy="2746374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2E42AB59-0006-B148-D9C7-AB38AE4AAEC9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565535"/>
            <a:ext cx="8340725" cy="3546090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tx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809670F-B8FC-84F8-7947-249DE69D740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6A3F0558-20AC-62FE-D179-EB93B962AC18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048505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reeform 15">
            <a:extLst>
              <a:ext uri="{FF2B5EF4-FFF2-40B4-BE49-F238E27FC236}">
                <a16:creationId xmlns:a16="http://schemas.microsoft.com/office/drawing/2014/main" id="{0BE3069A-510B-D547-99D1-B2517D804836}"/>
              </a:ext>
            </a:extLst>
          </p:cNvPr>
          <p:cNvSpPr/>
          <p:nvPr/>
        </p:nvSpPr>
        <p:spPr>
          <a:xfrm>
            <a:off x="5452533" y="0"/>
            <a:ext cx="6739467" cy="6498000"/>
          </a:xfrm>
          <a:custGeom>
            <a:avLst/>
            <a:gdLst>
              <a:gd name="connsiteX0" fmla="*/ 1624500 w 6739467"/>
              <a:gd name="connsiteY0" fmla="*/ 0 h 6498000"/>
              <a:gd name="connsiteX1" fmla="*/ 6739467 w 6739467"/>
              <a:gd name="connsiteY1" fmla="*/ 0 h 6498000"/>
              <a:gd name="connsiteX2" fmla="*/ 6739467 w 6739467"/>
              <a:gd name="connsiteY2" fmla="*/ 6498000 h 6498000"/>
              <a:gd name="connsiteX3" fmla="*/ 895271 w 6739467"/>
              <a:gd name="connsiteY3" fmla="*/ 6498000 h 6498000"/>
              <a:gd name="connsiteX4" fmla="*/ 895467 w 6739467"/>
              <a:gd name="connsiteY4" fmla="*/ 6496050 h 6498000"/>
              <a:gd name="connsiteX5" fmla="*/ 643467 w 6739467"/>
              <a:gd name="connsiteY5" fmla="*/ 6244050 h 6498000"/>
              <a:gd name="connsiteX6" fmla="*/ 391467 w 6739467"/>
              <a:gd name="connsiteY6" fmla="*/ 6496050 h 6498000"/>
              <a:gd name="connsiteX7" fmla="*/ 391664 w 6739467"/>
              <a:gd name="connsiteY7" fmla="*/ 6498000 h 6498000"/>
              <a:gd name="connsiteX8" fmla="*/ 0 w 6739467"/>
              <a:gd name="connsiteY8" fmla="*/ 6498000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</a:cxnLst>
            <a:rect l="l" t="t" r="r" b="b"/>
            <a:pathLst>
              <a:path w="6739467" h="6498000">
                <a:moveTo>
                  <a:pt x="1624500" y="0"/>
                </a:moveTo>
                <a:lnTo>
                  <a:pt x="6739467" y="0"/>
                </a:lnTo>
                <a:lnTo>
                  <a:pt x="6739467" y="6498000"/>
                </a:lnTo>
                <a:lnTo>
                  <a:pt x="895271" y="6498000"/>
                </a:lnTo>
                <a:lnTo>
                  <a:pt x="895467" y="6496050"/>
                </a:lnTo>
                <a:cubicBezTo>
                  <a:pt x="895467" y="6356874"/>
                  <a:pt x="782643" y="6244050"/>
                  <a:pt x="643467" y="6244050"/>
                </a:cubicBezTo>
                <a:cubicBezTo>
                  <a:pt x="504291" y="6244050"/>
                  <a:pt x="391467" y="6356874"/>
                  <a:pt x="391467" y="6496050"/>
                </a:cubicBezTo>
                <a:lnTo>
                  <a:pt x="391664" y="6498000"/>
                </a:lnTo>
                <a:lnTo>
                  <a:pt x="0" y="6498000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6" y="2436812"/>
            <a:ext cx="4505168" cy="3811529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47BDA6D-F005-5D4D-96DF-0CD62008197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452534" y="0"/>
            <a:ext cx="6739467" cy="6497999"/>
          </a:xfrm>
          <a:custGeom>
            <a:avLst/>
            <a:gdLst>
              <a:gd name="connsiteX0" fmla="*/ 1624500 w 6739467"/>
              <a:gd name="connsiteY0" fmla="*/ 0 h 6497999"/>
              <a:gd name="connsiteX1" fmla="*/ 6739467 w 6739467"/>
              <a:gd name="connsiteY1" fmla="*/ 0 h 6497999"/>
              <a:gd name="connsiteX2" fmla="*/ 6739467 w 6739467"/>
              <a:gd name="connsiteY2" fmla="*/ 6497999 h 6497999"/>
              <a:gd name="connsiteX3" fmla="*/ 895270 w 6739467"/>
              <a:gd name="connsiteY3" fmla="*/ 6497999 h 6497999"/>
              <a:gd name="connsiteX4" fmla="*/ 895466 w 6739467"/>
              <a:gd name="connsiteY4" fmla="*/ 6496050 h 6497999"/>
              <a:gd name="connsiteX5" fmla="*/ 643466 w 6739467"/>
              <a:gd name="connsiteY5" fmla="*/ 6244050 h 6497999"/>
              <a:gd name="connsiteX6" fmla="*/ 391466 w 6739467"/>
              <a:gd name="connsiteY6" fmla="*/ 6496050 h 6497999"/>
              <a:gd name="connsiteX7" fmla="*/ 391663 w 6739467"/>
              <a:gd name="connsiteY7" fmla="*/ 6497999 h 6497999"/>
              <a:gd name="connsiteX8" fmla="*/ 0 w 6739467"/>
              <a:gd name="connsiteY8" fmla="*/ 6497999 h 6497999"/>
              <a:gd name="connsiteX9" fmla="*/ 127472 w 6739467"/>
              <a:gd name="connsiteY9" fmla="*/ 5988112 h 6497999"/>
              <a:gd name="connsiteX10" fmla="*/ 6265014 w 6739467"/>
              <a:gd name="connsiteY10" fmla="*/ 5988112 h 6497999"/>
              <a:gd name="connsiteX11" fmla="*/ 6265014 w 6739467"/>
              <a:gd name="connsiteY11" fmla="*/ 509887 h 6497999"/>
              <a:gd name="connsiteX12" fmla="*/ 1497029 w 6739467"/>
              <a:gd name="connsiteY12" fmla="*/ 509887 h 649799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</a:cxnLst>
            <a:rect l="l" t="t" r="r" b="b"/>
            <a:pathLst>
              <a:path w="6739467" h="6497999">
                <a:moveTo>
                  <a:pt x="1624500" y="0"/>
                </a:moveTo>
                <a:lnTo>
                  <a:pt x="6739467" y="0"/>
                </a:lnTo>
                <a:lnTo>
                  <a:pt x="6739467" y="6497999"/>
                </a:lnTo>
                <a:lnTo>
                  <a:pt x="895270" y="6497999"/>
                </a:lnTo>
                <a:lnTo>
                  <a:pt x="895466" y="6496050"/>
                </a:lnTo>
                <a:cubicBezTo>
                  <a:pt x="895466" y="6356874"/>
                  <a:pt x="782642" y="6244050"/>
                  <a:pt x="643466" y="6244050"/>
                </a:cubicBezTo>
                <a:cubicBezTo>
                  <a:pt x="504290" y="6244050"/>
                  <a:pt x="391466" y="6356874"/>
                  <a:pt x="391466" y="6496050"/>
                </a:cubicBezTo>
                <a:lnTo>
                  <a:pt x="391663" y="6497999"/>
                </a:lnTo>
                <a:lnTo>
                  <a:pt x="0" y="6497999"/>
                </a:lnTo>
                <a:lnTo>
                  <a:pt x="127472" y="5988112"/>
                </a:lnTo>
                <a:lnTo>
                  <a:pt x="6265014" y="5988112"/>
                </a:lnTo>
                <a:lnTo>
                  <a:pt x="6265014" y="509887"/>
                </a:lnTo>
                <a:lnTo>
                  <a:pt x="1497029" y="509887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6" y="609600"/>
            <a:ext cx="5187648" cy="146721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76045233-382C-5544-B7F4-FF91B32A01D9}"/>
              </a:ext>
            </a:extLst>
          </p:cNvPr>
          <p:cNvSpPr/>
          <p:nvPr/>
        </p:nvSpPr>
        <p:spPr>
          <a:xfrm>
            <a:off x="5181118" y="509887"/>
            <a:ext cx="6536430" cy="5478225"/>
          </a:xfrm>
          <a:custGeom>
            <a:avLst/>
            <a:gdLst>
              <a:gd name="connsiteX0" fmla="*/ 1369556 w 6536430"/>
              <a:gd name="connsiteY0" fmla="*/ 0 h 5478225"/>
              <a:gd name="connsiteX1" fmla="*/ 6536430 w 6536430"/>
              <a:gd name="connsiteY1" fmla="*/ 0 h 5478225"/>
              <a:gd name="connsiteX2" fmla="*/ 6536430 w 6536430"/>
              <a:gd name="connsiteY2" fmla="*/ 5478225 h 5478225"/>
              <a:gd name="connsiteX3" fmla="*/ 0 w 6536430"/>
              <a:gd name="connsiteY3" fmla="*/ 5478225 h 54782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6536430" h="5478225">
                <a:moveTo>
                  <a:pt x="1369556" y="0"/>
                </a:moveTo>
                <a:lnTo>
                  <a:pt x="6536430" y="0"/>
                </a:lnTo>
                <a:lnTo>
                  <a:pt x="6536430" y="5478225"/>
                </a:lnTo>
                <a:lnTo>
                  <a:pt x="0" y="5478225"/>
                </a:lnTo>
                <a:close/>
              </a:path>
            </a:pathLst>
          </a:cu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77707715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#2 - no lin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6352"/>
            <a:ext cx="12193199" cy="6851647"/>
          </a:xfrm>
          <a:solidFill>
            <a:schemeClr val="bg1">
              <a:lumMod val="50000"/>
            </a:schemeClr>
          </a:soli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ext Placeholder 20">
            <a:extLst>
              <a:ext uri="{FF2B5EF4-FFF2-40B4-BE49-F238E27FC236}">
                <a16:creationId xmlns:a16="http://schemas.microsoft.com/office/drawing/2014/main" id="{252FC420-28B5-7ACA-60C1-4F782DB6F9A0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41350" y="914400"/>
            <a:ext cx="8340725" cy="4572003"/>
          </a:xfrm>
        </p:spPr>
        <p:txBody>
          <a:bodyPr/>
          <a:lstStyle>
            <a:lvl1pPr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AD208470-F61B-2568-6792-D8CA1F5C14DD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8283138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slide - fullbleed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42D1BFDB-E032-956C-D200-058837957A8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-600" y="-6353"/>
            <a:ext cx="12193200" cy="6858000"/>
          </a:xfrm>
          <a:gradFill flip="none" rotWithShape="1"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20000"/>
                </a:schemeClr>
              </a:gs>
            </a:gsLst>
            <a:lin ang="0" scaled="1"/>
            <a:tileRect/>
          </a:gradFill>
        </p:spPr>
        <p:txBody>
          <a:bodyPr lIns="756000" tIns="612000" rIns="2520000" bIns="1152000" anchor="ctr"/>
          <a:lstStyle>
            <a:lvl1pPr algn="l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  <a:lvl2pPr>
              <a:defRPr sz="4800"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tatement goes here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3176"/>
            <a:ext cx="12193200" cy="68580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Text Placeholder 20">
            <a:extLst>
              <a:ext uri="{FF2B5EF4-FFF2-40B4-BE49-F238E27FC236}">
                <a16:creationId xmlns:a16="http://schemas.microsoft.com/office/drawing/2014/main" id="{E8A1264F-301A-E736-9F01-1DEF9B53F7AE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6352"/>
            <a:ext cx="12192000" cy="6858000"/>
          </a:xfrm>
          <a:blipFill>
            <a:blip r:embed="rId2">
              <a:alphaModFix amt="75000"/>
            </a:blip>
            <a:stretch>
              <a:fillRect l="24" r="-24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863C2B2C-6344-257A-328C-7A1145A5E23B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545417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Quote black - no lin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401132A5-E10E-09F0-EFB9-DF28BCE3E5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7CAE127-4BA8-A6AB-D730-5E29D8589CE2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B593C7AC-B9D0-282F-EBD2-51F113FF9230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6169026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22332F8C-B815-6103-1445-DCD4B5213EE0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6947275" y="682625"/>
            <a:ext cx="4608137" cy="4803775"/>
          </a:xfrm>
        </p:spPr>
        <p:txBody>
          <a:bodyPr/>
          <a:lstStyle>
            <a:lvl1pPr>
              <a:lnSpc>
                <a:spcPct val="100000"/>
              </a:lnSpc>
              <a:defRPr sz="3600">
                <a:solidFill>
                  <a:schemeClr val="tx1"/>
                </a:solidFill>
              </a:defRPr>
            </a:lvl1pPr>
            <a:lvl2pPr>
              <a:spcBef>
                <a:spcPts val="1200"/>
              </a:spcBef>
              <a:spcAft>
                <a:spcPts val="0"/>
              </a:spcAft>
              <a:defRPr sz="1400" b="1">
                <a:solidFill>
                  <a:schemeClr val="tx2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958816A0-7F4C-A0E8-E5DF-4FE91345C726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3140AC83-22C5-763A-64A5-8A28D0B0709F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 flipH="1">
            <a:off x="0" y="0"/>
            <a:ext cx="6096000" cy="6169024"/>
          </a:xfrm>
          <a:blipFill>
            <a:blip r:embed="rId2">
              <a:alphaModFix amt="50000"/>
            </a:blip>
            <a:stretch>
              <a:fillRect l="-74091" r="-25909" b="-11168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45211284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2443CF3E-D757-B9D5-2707-CDF11C456435}"/>
              </a:ext>
            </a:extLst>
          </p:cNvPr>
          <p:cNvSpPr/>
          <p:nvPr/>
        </p:nvSpPr>
        <p:spPr>
          <a:xfrm>
            <a:off x="6416677" y="3419474"/>
            <a:ext cx="5775322" cy="3432173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2" name="Rectangle 11">
            <a:extLst>
              <a:ext uri="{FF2B5EF4-FFF2-40B4-BE49-F238E27FC236}">
                <a16:creationId xmlns:a16="http://schemas.microsoft.com/office/drawing/2014/main" id="{1041E472-8863-8385-9109-667D51109C7F}"/>
              </a:ext>
            </a:extLst>
          </p:cNvPr>
          <p:cNvSpPr/>
          <p:nvPr/>
        </p:nvSpPr>
        <p:spPr>
          <a:xfrm>
            <a:off x="0" y="0"/>
            <a:ext cx="3206749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Picture Placeholder 5">
            <a:extLst>
              <a:ext uri="{FF2B5EF4-FFF2-40B4-BE49-F238E27FC236}">
                <a16:creationId xmlns:a16="http://schemas.microsoft.com/office/drawing/2014/main" id="{F8F76B5F-DF92-A4B6-51C3-14FF64323A4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3206749" y="0"/>
            <a:ext cx="8986449" cy="3430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3A808CE-512E-DE29-9C19-6468B8F5F32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3425827"/>
            <a:ext cx="6418800" cy="3432173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14">
            <a:extLst>
              <a:ext uri="{FF2B5EF4-FFF2-40B4-BE49-F238E27FC236}">
                <a16:creationId xmlns:a16="http://schemas.microsoft.com/office/drawing/2014/main" id="{A4CBBB61-1CA3-AE90-FB7E-57CF0C1E365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958361" y="3435353"/>
            <a:ext cx="4938723" cy="3422647"/>
          </a:xfrm>
        </p:spPr>
        <p:txBody>
          <a:bodyPr anchor="ctr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two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9" name="Text Placeholder 9">
            <a:extLst>
              <a:ext uri="{FF2B5EF4-FFF2-40B4-BE49-F238E27FC236}">
                <a16:creationId xmlns:a16="http://schemas.microsoft.com/office/drawing/2014/main" id="{37C266FA-1092-3E8A-D45B-11D08E3F2BEA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6"/>
            <a:ext cx="18000" cy="2752728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gradFill>
                  <a:gsLst>
                    <a:gs pos="0">
                      <a:schemeClr val="tx2"/>
                    </a:gs>
                    <a:gs pos="100000">
                      <a:schemeClr val="accent1"/>
                    </a:gs>
                  </a:gsLst>
                  <a:lin ang="5400000" scaled="1"/>
                </a:gra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1" name="Text Placeholder 14">
            <a:extLst>
              <a:ext uri="{FF2B5EF4-FFF2-40B4-BE49-F238E27FC236}">
                <a16:creationId xmlns:a16="http://schemas.microsoft.com/office/drawing/2014/main" id="{2ABFC6FF-FB5C-1258-B6C6-DF37BD2EB3E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75011" y="638795"/>
            <a:ext cx="2431738" cy="2104406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9600" b="0">
                <a:ln w="31750">
                  <a:solidFill>
                    <a:schemeClr val="bg1"/>
                  </a:solidFill>
                </a:ln>
                <a:solidFill>
                  <a:schemeClr val="tx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Text Placeholder 20">
            <a:extLst>
              <a:ext uri="{FF2B5EF4-FFF2-40B4-BE49-F238E27FC236}">
                <a16:creationId xmlns:a16="http://schemas.microsoft.com/office/drawing/2014/main" id="{E2802ACB-3856-F244-645E-E23C64C6FCA1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3205550" y="0"/>
            <a:ext cx="8986449" cy="3435353"/>
          </a:xfrm>
          <a:blipFill>
            <a:blip r:embed="rId2"/>
            <a:stretch>
              <a:fillRect l="32291" r="-32291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0" name="Text Placeholder 20">
            <a:extLst>
              <a:ext uri="{FF2B5EF4-FFF2-40B4-BE49-F238E27FC236}">
                <a16:creationId xmlns:a16="http://schemas.microsoft.com/office/drawing/2014/main" id="{16430D9A-EF9F-962F-9999-D0D6E25183DA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 flipH="1">
            <a:off x="-2" y="3435353"/>
            <a:ext cx="6418799" cy="3435353"/>
          </a:xfrm>
          <a:blipFill>
            <a:blip r:embed="rId2">
              <a:alphaModFix/>
            </a:blip>
            <a:stretch>
              <a:fillRect l="-2416" r="-37586" b="-47142"/>
            </a:stretch>
          </a:blipFill>
        </p:spPr>
        <p:txBody>
          <a:bodyPr anchor="ctr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</p:spTree>
    <p:extLst>
      <p:ext uri="{BB962C8B-B14F-4D97-AF65-F5344CB8AC3E}">
        <p14:creationId xmlns:p14="http://schemas.microsoft.com/office/powerpoint/2010/main" val="2068521914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divider - creativ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CC526B21-1954-B741-453F-D6276E65753F}"/>
              </a:ext>
            </a:extLst>
          </p:cNvPr>
          <p:cNvSpPr/>
          <p:nvPr/>
        </p:nvSpPr>
        <p:spPr>
          <a:xfrm>
            <a:off x="8340725" y="0"/>
            <a:ext cx="3851274" cy="6851647"/>
          </a:xfrm>
          <a:prstGeom prst="rect">
            <a:avLst/>
          </a:prstGeo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1620000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sp>
        <p:nvSpPr>
          <p:cNvPr id="17" name="Text Placeholder 16">
            <a:extLst>
              <a:ext uri="{FF2B5EF4-FFF2-40B4-BE49-F238E27FC236}">
                <a16:creationId xmlns:a16="http://schemas.microsoft.com/office/drawing/2014/main" id="{287434F8-0B19-5D62-5DC7-46461B2E219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0" y="-1"/>
            <a:ext cx="8340725" cy="6858000"/>
          </a:xfrm>
          <a:solidFill>
            <a:srgbClr val="EDE9E9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38A935D-BA3E-0738-5972-5C2279612DB9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94A2D383-0134-29F6-11D1-C077B02EEF5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0" name="Picture Placeholder 5">
            <a:extLst>
              <a:ext uri="{FF2B5EF4-FFF2-40B4-BE49-F238E27FC236}">
                <a16:creationId xmlns:a16="http://schemas.microsoft.com/office/drawing/2014/main" id="{BD7371F5-C9C3-C0B3-BFD0-5D46E8192771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924051" y="1368425"/>
            <a:ext cx="8340725" cy="41179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4">
            <a:extLst>
              <a:ext uri="{FF2B5EF4-FFF2-40B4-BE49-F238E27FC236}">
                <a16:creationId xmlns:a16="http://schemas.microsoft.com/office/drawing/2014/main" id="{5C096FAA-7ED7-A6E1-95EF-4FBA05013D0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21287" y="3886199"/>
            <a:ext cx="5234127" cy="2965447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2000" b="1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  <a:effectLst>
                  <a:outerShdw blurRad="254000" algn="ctr" rotWithShape="0">
                    <a:prstClr val="black">
                      <a:alpha val="85000"/>
                    </a:prstClr>
                  </a:outerShdw>
                </a:effectLst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Section one</a:t>
            </a:r>
          </a:p>
          <a:p>
            <a:pPr lvl="1"/>
            <a:r>
              <a:rPr lang="en-GB"/>
              <a:t>Title goes here</a:t>
            </a:r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C3E5F0D1-7835-B64B-31A3-EF47ADE9A0C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5379" y="682625"/>
            <a:ext cx="18000" cy="6169025"/>
          </a:xfrm>
          <a:gradFill>
            <a:gsLst>
              <a:gs pos="0">
                <a:schemeClr val="tx2"/>
              </a:gs>
              <a:gs pos="100000">
                <a:schemeClr val="accent1"/>
              </a:gs>
            </a:gsLst>
            <a:lin ang="5400000" scaled="1"/>
          </a:gradFill>
        </p:spPr>
        <p:txBody>
          <a:bodyPr lIns="0" tIns="0" rIns="0" bIns="0"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5" name="Text Placeholder 14">
            <a:extLst>
              <a:ext uri="{FF2B5EF4-FFF2-40B4-BE49-F238E27FC236}">
                <a16:creationId xmlns:a16="http://schemas.microsoft.com/office/drawing/2014/main" id="{1B46FEEB-5D4C-2B09-7615-1FF398890E1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1116274" y="638794"/>
            <a:ext cx="4014526" cy="2790205"/>
          </a:xfrm>
        </p:spPr>
        <p:txBody>
          <a:bodyPr anchor="t"/>
          <a:lstStyle>
            <a:lvl1pPr algn="l">
              <a:lnSpc>
                <a:spcPct val="80000"/>
              </a:lnSpc>
              <a:spcAft>
                <a:spcPts val="600"/>
              </a:spcAft>
              <a:defRPr sz="19900" b="0">
                <a:ln w="31750">
                  <a:noFill/>
                </a:ln>
                <a:solidFill>
                  <a:schemeClr val="bg1"/>
                </a:solidFill>
              </a:defRPr>
            </a:lvl1pPr>
            <a:lvl2pPr algn="l">
              <a:lnSpc>
                <a:spcPct val="80000"/>
              </a:lnSpc>
              <a:spcAft>
                <a:spcPts val="600"/>
              </a:spcAft>
              <a:defRPr sz="4400">
                <a:solidFill>
                  <a:schemeClr val="bg1"/>
                </a:solidFill>
              </a:defRPr>
            </a:lvl2pPr>
            <a:lvl3pPr marL="0" indent="0" algn="r">
              <a:buNone/>
              <a:defRPr>
                <a:solidFill>
                  <a:schemeClr val="bg1"/>
                </a:solidFill>
              </a:defRPr>
            </a:lvl3pPr>
            <a:lvl4pPr algn="r">
              <a:defRPr>
                <a:solidFill>
                  <a:schemeClr val="bg1"/>
                </a:solidFill>
              </a:defRPr>
            </a:lvl4pPr>
            <a:lvl5pPr algn="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01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8063FE6B-2770-5C5A-3C6B-DE0C34A3ED10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E82AF44-AC54-90DF-5CE3-6A79F822413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2679259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8E086495-536E-5EDB-1A79-275F3445CDA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831671" y="335508"/>
            <a:ext cx="2620800" cy="5503863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21939156-7FA2-DACC-E1CA-89BB520E83D9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914865" y="407983"/>
            <a:ext cx="2454413" cy="5358912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78C1AECD-4AA3-C9BB-0755-10EDD8848048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9418962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bile device zoomed in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BBC042C6-1D2E-BA18-C088-8D1487D36329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054850" y="333375"/>
            <a:ext cx="4130603" cy="5835649"/>
          </a:xfrm>
          <a:custGeom>
            <a:avLst/>
            <a:gdLst>
              <a:gd name="connsiteX0" fmla="*/ 506040 w 4130603"/>
              <a:gd name="connsiteY0" fmla="*/ 0 h 5835649"/>
              <a:gd name="connsiteX1" fmla="*/ 3624563 w 4130603"/>
              <a:gd name="connsiteY1" fmla="*/ 0 h 5835649"/>
              <a:gd name="connsiteX2" fmla="*/ 4130603 w 4130603"/>
              <a:gd name="connsiteY2" fmla="*/ 506040 h 5835649"/>
              <a:gd name="connsiteX3" fmla="*/ 4130603 w 4130603"/>
              <a:gd name="connsiteY3" fmla="*/ 5835649 h 5835649"/>
              <a:gd name="connsiteX4" fmla="*/ 0 w 4130603"/>
              <a:gd name="connsiteY4" fmla="*/ 5835649 h 5835649"/>
              <a:gd name="connsiteX5" fmla="*/ 0 w 4130603"/>
              <a:gd name="connsiteY5" fmla="*/ 506040 h 5835649"/>
              <a:gd name="connsiteX6" fmla="*/ 506040 w 4130603"/>
              <a:gd name="connsiteY6" fmla="*/ 0 h 58356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4130603" h="5835649">
                <a:moveTo>
                  <a:pt x="506040" y="0"/>
                </a:moveTo>
                <a:lnTo>
                  <a:pt x="3624563" y="0"/>
                </a:lnTo>
                <a:cubicBezTo>
                  <a:pt x="3904041" y="0"/>
                  <a:pt x="4130603" y="226562"/>
                  <a:pt x="4130603" y="506040"/>
                </a:cubicBezTo>
                <a:lnTo>
                  <a:pt x="4130603" y="5835649"/>
                </a:lnTo>
                <a:lnTo>
                  <a:pt x="0" y="5835649"/>
                </a:lnTo>
                <a:lnTo>
                  <a:pt x="0" y="506040"/>
                </a:lnTo>
                <a:cubicBezTo>
                  <a:pt x="0" y="226562"/>
                  <a:pt x="226562" y="0"/>
                  <a:pt x="506040" y="0"/>
                </a:cubicBezTo>
                <a:close/>
              </a:path>
            </a:pathLst>
          </a:custGeom>
          <a:solidFill>
            <a:schemeClr val="tx1"/>
          </a:solidFill>
        </p:spPr>
        <p:txBody>
          <a:bodyPr wrap="square">
            <a:noAutofit/>
          </a:bodyPr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4793736" cy="1088701"/>
          </a:xfrm>
        </p:spPr>
        <p:txBody>
          <a:bodyPr/>
          <a:lstStyle/>
          <a:p>
            <a:r>
              <a:rPr lang="en-GB"/>
              <a:t>Mobile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0174A84C-18FA-502E-A356-C0C337637CC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185970" y="447604"/>
            <a:ext cx="3868183" cy="5721421"/>
          </a:xfrm>
          <a:custGeom>
            <a:avLst/>
            <a:gdLst>
              <a:gd name="connsiteX0" fmla="*/ 403834 w 3868183"/>
              <a:gd name="connsiteY0" fmla="*/ 132 h 5721421"/>
              <a:gd name="connsiteX1" fmla="*/ 646193 w 3868183"/>
              <a:gd name="connsiteY1" fmla="*/ 1312 h 5721421"/>
              <a:gd name="connsiteX2" fmla="*/ 838799 w 3868183"/>
              <a:gd name="connsiteY2" fmla="*/ 132 h 5721421"/>
              <a:gd name="connsiteX3" fmla="*/ 1018892 w 3868183"/>
              <a:gd name="connsiteY3" fmla="*/ 1607 h 5721421"/>
              <a:gd name="connsiteX4" fmla="*/ 1379229 w 3868183"/>
              <a:gd name="connsiteY4" fmla="*/ 132 h 5721421"/>
              <a:gd name="connsiteX5" fmla="*/ 1712902 w 3868183"/>
              <a:gd name="connsiteY5" fmla="*/ 132 h 5721421"/>
              <a:gd name="connsiteX6" fmla="*/ 2028547 w 3868183"/>
              <a:gd name="connsiteY6" fmla="*/ 132 h 5721421"/>
              <a:gd name="connsiteX7" fmla="*/ 2360285 w 3868183"/>
              <a:gd name="connsiteY7" fmla="*/ 1164 h 5721421"/>
              <a:gd name="connsiteX8" fmla="*/ 2658206 w 3868183"/>
              <a:gd name="connsiteY8" fmla="*/ 132 h 5721421"/>
              <a:gd name="connsiteX9" fmla="*/ 2995305 w 3868183"/>
              <a:gd name="connsiteY9" fmla="*/ 132 h 5721421"/>
              <a:gd name="connsiteX10" fmla="*/ 3264774 w 3868183"/>
              <a:gd name="connsiteY10" fmla="*/ 278 h 5721421"/>
              <a:gd name="connsiteX11" fmla="*/ 3464532 w 3868183"/>
              <a:gd name="connsiteY11" fmla="*/ 132 h 5721421"/>
              <a:gd name="connsiteX12" fmla="*/ 3856448 w 3868183"/>
              <a:gd name="connsiteY12" fmla="*/ 299272 h 5721421"/>
              <a:gd name="connsiteX13" fmla="*/ 3867619 w 3868183"/>
              <a:gd name="connsiteY13" fmla="*/ 409717 h 5721421"/>
              <a:gd name="connsiteX14" fmla="*/ 3868067 w 3868183"/>
              <a:gd name="connsiteY14" fmla="*/ 2159535 h 5721421"/>
              <a:gd name="connsiteX15" fmla="*/ 3868067 w 3868183"/>
              <a:gd name="connsiteY15" fmla="*/ 4224591 h 5721421"/>
              <a:gd name="connsiteX16" fmla="*/ 3868183 w 3868183"/>
              <a:gd name="connsiteY16" fmla="*/ 5721421 h 5721421"/>
              <a:gd name="connsiteX17" fmla="*/ 384 w 3868183"/>
              <a:gd name="connsiteY17" fmla="*/ 5721421 h 5721421"/>
              <a:gd name="connsiteX18" fmla="*/ 0 w 3868183"/>
              <a:gd name="connsiteY18" fmla="*/ 411784 h 5721421"/>
              <a:gd name="connsiteX19" fmla="*/ 185457 w 3868183"/>
              <a:gd name="connsiteY19" fmla="*/ 61701 h 5721421"/>
              <a:gd name="connsiteX20" fmla="*/ 403834 w 3868183"/>
              <a:gd name="connsiteY20" fmla="*/ 132 h 572142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</a:cxnLst>
            <a:rect l="l" t="t" r="r" b="b"/>
            <a:pathLst>
              <a:path w="3868183" h="5721421">
                <a:moveTo>
                  <a:pt x="403834" y="132"/>
                </a:moveTo>
                <a:cubicBezTo>
                  <a:pt x="484569" y="132"/>
                  <a:pt x="565455" y="1312"/>
                  <a:pt x="646193" y="1312"/>
                </a:cubicBezTo>
                <a:cubicBezTo>
                  <a:pt x="710394" y="1312"/>
                  <a:pt x="774597" y="132"/>
                  <a:pt x="838799" y="132"/>
                </a:cubicBezTo>
                <a:cubicBezTo>
                  <a:pt x="898830" y="132"/>
                  <a:pt x="958860" y="1607"/>
                  <a:pt x="1018892" y="1607"/>
                </a:cubicBezTo>
                <a:cubicBezTo>
                  <a:pt x="1138956" y="1460"/>
                  <a:pt x="1259166" y="426"/>
                  <a:pt x="1379229" y="132"/>
                </a:cubicBezTo>
                <a:cubicBezTo>
                  <a:pt x="1490503" y="-165"/>
                  <a:pt x="1601627" y="132"/>
                  <a:pt x="1712902" y="132"/>
                </a:cubicBezTo>
                <a:cubicBezTo>
                  <a:pt x="1818067" y="132"/>
                  <a:pt x="1923383" y="-18"/>
                  <a:pt x="2028547" y="132"/>
                </a:cubicBezTo>
                <a:cubicBezTo>
                  <a:pt x="2139078" y="278"/>
                  <a:pt x="2249756" y="1164"/>
                  <a:pt x="2360285" y="1164"/>
                </a:cubicBezTo>
                <a:cubicBezTo>
                  <a:pt x="2459641" y="1164"/>
                  <a:pt x="2558849" y="278"/>
                  <a:pt x="2658206" y="132"/>
                </a:cubicBezTo>
                <a:cubicBezTo>
                  <a:pt x="2770522" y="-18"/>
                  <a:pt x="2882987" y="132"/>
                  <a:pt x="2995305" y="132"/>
                </a:cubicBezTo>
                <a:cubicBezTo>
                  <a:pt x="3085128" y="132"/>
                  <a:pt x="3174952" y="278"/>
                  <a:pt x="3264774" y="278"/>
                </a:cubicBezTo>
                <a:cubicBezTo>
                  <a:pt x="3331360" y="278"/>
                  <a:pt x="3397946" y="-18"/>
                  <a:pt x="3464532" y="132"/>
                </a:cubicBezTo>
                <a:cubicBezTo>
                  <a:pt x="3653264" y="721"/>
                  <a:pt x="3812801" y="121353"/>
                  <a:pt x="3856448" y="299272"/>
                </a:cubicBezTo>
                <a:cubicBezTo>
                  <a:pt x="3865236" y="334856"/>
                  <a:pt x="3867471" y="372803"/>
                  <a:pt x="3867619" y="409717"/>
                </a:cubicBezTo>
                <a:cubicBezTo>
                  <a:pt x="3868215" y="992940"/>
                  <a:pt x="3868067" y="1576311"/>
                  <a:pt x="3868067" y="2159535"/>
                </a:cubicBezTo>
                <a:cubicBezTo>
                  <a:pt x="3868067" y="2847889"/>
                  <a:pt x="3868067" y="3536239"/>
                  <a:pt x="3868067" y="4224591"/>
                </a:cubicBezTo>
                <a:lnTo>
                  <a:pt x="3868183" y="5721421"/>
                </a:lnTo>
                <a:lnTo>
                  <a:pt x="384" y="5721421"/>
                </a:lnTo>
                <a:lnTo>
                  <a:pt x="0" y="411784"/>
                </a:lnTo>
                <a:cubicBezTo>
                  <a:pt x="0" y="261327"/>
                  <a:pt x="59734" y="144681"/>
                  <a:pt x="185457" y="61701"/>
                </a:cubicBezTo>
                <a:cubicBezTo>
                  <a:pt x="251149" y="18291"/>
                  <a:pt x="325331" y="278"/>
                  <a:pt x="403834" y="132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4793736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71EB229-33B3-3BDD-3665-B596587470DA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48033954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esktop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4395996" y="787399"/>
            <a:ext cx="7310205" cy="5381626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Desktop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602504" y="1018903"/>
            <a:ext cx="6897188" cy="387966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DC6D4FFF-6DE6-820F-0E9F-1A81798A3547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571775776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urface Book device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C40319BC-9031-AD03-354D-EE82B71D89B0}"/>
              </a:ext>
            </a:extLst>
          </p:cNvPr>
          <p:cNvSpPr/>
          <p:nvPr/>
        </p:nvSpPr>
        <p:spPr>
          <a:xfrm>
            <a:off x="0" y="0"/>
            <a:ext cx="6096000" cy="61690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D474F642-B459-8F68-4149-D4B99668EAFB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3796217" y="862978"/>
            <a:ext cx="8795602" cy="52084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A339DA14-F412-C05D-03DD-823D4725C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85262" y="279724"/>
            <a:ext cx="3440570" cy="1780851"/>
          </a:xfrm>
        </p:spPr>
        <p:txBody>
          <a:bodyPr/>
          <a:lstStyle/>
          <a:p>
            <a:r>
              <a:rPr lang="en-GB"/>
              <a:t>Surface Book device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9463" y="2060575"/>
            <a:ext cx="3440570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4991501" y="1247502"/>
            <a:ext cx="6395644" cy="4258492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C0DB4169-0D80-8388-80E4-661FD080C19E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0846803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E2D5563B-EAC6-EC73-04A7-6FF3483C94CE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64361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8BA2C4E4-7F5F-67A3-0215-4AD932BDA96A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925215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6166505" y="136842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Text Placeholder 9">
            <a:extLst>
              <a:ext uri="{FF2B5EF4-FFF2-40B4-BE49-F238E27FC236}">
                <a16:creationId xmlns:a16="http://schemas.microsoft.com/office/drawing/2014/main" id="{16DD9963-9B5A-10CD-A0EE-68235B7C27C2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443577" y="136842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4361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4" name="Text Placeholder 9">
            <a:extLst>
              <a:ext uri="{FF2B5EF4-FFF2-40B4-BE49-F238E27FC236}">
                <a16:creationId xmlns:a16="http://schemas.microsoft.com/office/drawing/2014/main" id="{ABD159C3-2532-3562-792C-4F5CDC66EC5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1925215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6166505" y="2751314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A0399768-6B14-D79E-5238-274950F97DC3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7443577" y="2751314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64361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8" name="Text Placeholder 9">
            <a:extLst>
              <a:ext uri="{FF2B5EF4-FFF2-40B4-BE49-F238E27FC236}">
                <a16:creationId xmlns:a16="http://schemas.microsoft.com/office/drawing/2014/main" id="{EAEC67F7-F65C-17F4-BF5F-DAF9447AEC48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1925215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6166505" y="4122445"/>
            <a:ext cx="1281600" cy="12816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0" name="Text Placeholder 9">
            <a:extLst>
              <a:ext uri="{FF2B5EF4-FFF2-40B4-BE49-F238E27FC236}">
                <a16:creationId xmlns:a16="http://schemas.microsoft.com/office/drawing/2014/main" id="{65F261BA-EC3A-97AD-184F-EED4ACE0DBFC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7443577" y="4122445"/>
            <a:ext cx="3969949" cy="1281600"/>
          </a:xfrm>
          <a:solidFill>
            <a:srgbClr val="EDE9E9"/>
          </a:soli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0EABD2C7-A8C3-9823-FDCE-816BF7F9D0CC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5895164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2" name="Text Placeholder 9">
            <a:extLst>
              <a:ext uri="{FF2B5EF4-FFF2-40B4-BE49-F238E27FC236}">
                <a16:creationId xmlns:a16="http://schemas.microsoft.com/office/drawing/2014/main" id="{61260E68-B2AB-427A-F261-14A361BD3695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5895164" y="273555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3" name="Text Placeholder 9">
            <a:extLst>
              <a:ext uri="{FF2B5EF4-FFF2-40B4-BE49-F238E27FC236}">
                <a16:creationId xmlns:a16="http://schemas.microsoft.com/office/drawing/2014/main" id="{3F42BED2-F821-EE86-C2E9-3F49F56FAC2D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5895164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02189B91-0856-76B7-5F4E-2DE9DC947D13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11413526" y="411844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A4E9967A-1D0C-D284-E664-44C13B2C7CA1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11413526" y="2751314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  <p:sp>
        <p:nvSpPr>
          <p:cNvPr id="26" name="Text Placeholder 9">
            <a:extLst>
              <a:ext uri="{FF2B5EF4-FFF2-40B4-BE49-F238E27FC236}">
                <a16:creationId xmlns:a16="http://schemas.microsoft.com/office/drawing/2014/main" id="{8440828E-D46C-2E94-6611-975B2A0D3B04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11413526" y="1368425"/>
            <a:ext cx="141646" cy="1281600"/>
          </a:xfrm>
          <a:gradFill flip="none" rotWithShape="1">
            <a:gsLst>
              <a:gs pos="0">
                <a:schemeClr val="tx2"/>
              </a:gs>
              <a:gs pos="99000">
                <a:schemeClr val="accent1"/>
              </a:gs>
            </a:gsLst>
            <a:lin ang="5400000" scaled="1"/>
            <a:tileRect/>
          </a:gradFill>
        </p:spPr>
        <p:txBody>
          <a:bodyPr lIns="360000" anchor="ctr"/>
          <a:lstStyle>
            <a:lvl1pPr>
              <a:lnSpc>
                <a:spcPct val="100000"/>
              </a:lnSpc>
              <a:spcAft>
                <a:spcPts val="0"/>
              </a:spcAft>
              <a:defRPr sz="100"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  </a:t>
            </a:r>
          </a:p>
        </p:txBody>
      </p:sp>
    </p:spTree>
    <p:extLst>
      <p:ext uri="{BB962C8B-B14F-4D97-AF65-F5344CB8AC3E}">
        <p14:creationId xmlns:p14="http://schemas.microsoft.com/office/powerpoint/2010/main" val="35157130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Full Chart Slid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3EDCCA77-93B5-3F4D-89F5-D55DB5E62F69}"/>
              </a:ext>
            </a:extLst>
          </p:cNvPr>
          <p:cNvSpPr/>
          <p:nvPr/>
        </p:nvSpPr>
        <p:spPr>
          <a:xfrm>
            <a:off x="444843" y="415925"/>
            <a:ext cx="11392930" cy="571182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" name="Picture Placeholder 13">
            <a:extLst>
              <a:ext uri="{FF2B5EF4-FFF2-40B4-BE49-F238E27FC236}">
                <a16:creationId xmlns:a16="http://schemas.microsoft.com/office/drawing/2014/main" id="{356EBECB-C5D1-6548-B42C-A9EE50EB1D13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637219" y="0"/>
            <a:ext cx="10554781" cy="6498000"/>
          </a:xfrm>
          <a:custGeom>
            <a:avLst/>
            <a:gdLst>
              <a:gd name="connsiteX0" fmla="*/ 1624501 w 10554781"/>
              <a:gd name="connsiteY0" fmla="*/ 0 h 6498000"/>
              <a:gd name="connsiteX1" fmla="*/ 3540583 w 10554781"/>
              <a:gd name="connsiteY1" fmla="*/ 0 h 6498000"/>
              <a:gd name="connsiteX2" fmla="*/ 4060849 w 10554781"/>
              <a:gd name="connsiteY2" fmla="*/ 0 h 6498000"/>
              <a:gd name="connsiteX3" fmla="*/ 10554781 w 10554781"/>
              <a:gd name="connsiteY3" fmla="*/ 0 h 6498000"/>
              <a:gd name="connsiteX4" fmla="*/ 10554781 w 10554781"/>
              <a:gd name="connsiteY4" fmla="*/ 6498000 h 6498000"/>
              <a:gd name="connsiteX5" fmla="*/ 4710388 w 10554781"/>
              <a:gd name="connsiteY5" fmla="*/ 6498000 h 6498000"/>
              <a:gd name="connsiteX6" fmla="*/ 4710781 w 10554781"/>
              <a:gd name="connsiteY6" fmla="*/ 6496050 h 6498000"/>
              <a:gd name="connsiteX7" fmla="*/ 4458781 w 10554781"/>
              <a:gd name="connsiteY7" fmla="*/ 6244050 h 6498000"/>
              <a:gd name="connsiteX8" fmla="*/ 4206781 w 10554781"/>
              <a:gd name="connsiteY8" fmla="*/ 6496050 h 6498000"/>
              <a:gd name="connsiteX9" fmla="*/ 4207175 w 10554781"/>
              <a:gd name="connsiteY9" fmla="*/ 6498000 h 6498000"/>
              <a:gd name="connsiteX10" fmla="*/ 4060849 w 10554781"/>
              <a:gd name="connsiteY10" fmla="*/ 6498000 h 6498000"/>
              <a:gd name="connsiteX11" fmla="*/ 3540583 w 10554781"/>
              <a:gd name="connsiteY11" fmla="*/ 6498000 h 6498000"/>
              <a:gd name="connsiteX12" fmla="*/ 0 w 10554781"/>
              <a:gd name="connsiteY12" fmla="*/ 6498000 h 6498000"/>
              <a:gd name="connsiteX13" fmla="*/ 94043 w 10554781"/>
              <a:gd name="connsiteY13" fmla="*/ 6121831 h 6498000"/>
              <a:gd name="connsiteX14" fmla="*/ 10192831 w 10554781"/>
              <a:gd name="connsiteY14" fmla="*/ 6121831 h 6498000"/>
              <a:gd name="connsiteX15" fmla="*/ 10192831 w 10554781"/>
              <a:gd name="connsiteY15" fmla="*/ 418454 h 6498000"/>
              <a:gd name="connsiteX16" fmla="*/ 1519888 w 10554781"/>
              <a:gd name="connsiteY16" fmla="*/ 418454 h 649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</a:cxnLst>
            <a:rect l="l" t="t" r="r" b="b"/>
            <a:pathLst>
              <a:path w="10554781" h="6498000">
                <a:moveTo>
                  <a:pt x="1624501" y="0"/>
                </a:moveTo>
                <a:lnTo>
                  <a:pt x="3540583" y="0"/>
                </a:lnTo>
                <a:lnTo>
                  <a:pt x="4060849" y="0"/>
                </a:lnTo>
                <a:lnTo>
                  <a:pt x="10554781" y="0"/>
                </a:lnTo>
                <a:lnTo>
                  <a:pt x="10554781" y="6498000"/>
                </a:lnTo>
                <a:lnTo>
                  <a:pt x="4710388" y="6498000"/>
                </a:lnTo>
                <a:lnTo>
                  <a:pt x="4710781" y="6496050"/>
                </a:lnTo>
                <a:cubicBezTo>
                  <a:pt x="4710781" y="6356874"/>
                  <a:pt x="4597957" y="6244050"/>
                  <a:pt x="4458781" y="6244050"/>
                </a:cubicBezTo>
                <a:cubicBezTo>
                  <a:pt x="4319605" y="6244050"/>
                  <a:pt x="4206781" y="6356874"/>
                  <a:pt x="4206781" y="6496050"/>
                </a:cubicBezTo>
                <a:lnTo>
                  <a:pt x="4207175" y="6498000"/>
                </a:lnTo>
                <a:lnTo>
                  <a:pt x="4060849" y="6498000"/>
                </a:lnTo>
                <a:lnTo>
                  <a:pt x="3540583" y="6498000"/>
                </a:lnTo>
                <a:lnTo>
                  <a:pt x="0" y="6498000"/>
                </a:lnTo>
                <a:lnTo>
                  <a:pt x="94043" y="6121831"/>
                </a:lnTo>
                <a:lnTo>
                  <a:pt x="10192831" y="6121831"/>
                </a:lnTo>
                <a:lnTo>
                  <a:pt x="10192831" y="418454"/>
                </a:lnTo>
                <a:lnTo>
                  <a:pt x="1519888" y="418454"/>
                </a:lnTo>
                <a:close/>
              </a:path>
            </a:pathLst>
          </a:custGeom>
          <a:solidFill>
            <a:schemeClr val="accent5">
              <a:lumMod val="9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7E4AAB8-2A15-8E45-9BDE-D40138D664B9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18065" y="2436813"/>
            <a:ext cx="10928171" cy="3516516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28172" cy="1467212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3160716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C25B6C92-9C54-0C08-414D-5ED5438CB21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6" name="Picture Placeholder 7">
            <a:extLst>
              <a:ext uri="{FF2B5EF4-FFF2-40B4-BE49-F238E27FC236}">
                <a16:creationId xmlns:a16="http://schemas.microsoft.com/office/drawing/2014/main" id="{EDCD066B-62F2-1A43-3B79-0734FE86A4F0}"/>
              </a:ext>
            </a:extLst>
          </p:cNvPr>
          <p:cNvSpPr>
            <a:spLocks noGrp="1" noChangeAspect="1"/>
          </p:cNvSpPr>
          <p:nvPr>
            <p:ph type="pic" sz="quarter" idx="23"/>
          </p:nvPr>
        </p:nvSpPr>
        <p:spPr>
          <a:xfrm>
            <a:off x="668095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7">
            <a:extLst>
              <a:ext uri="{FF2B5EF4-FFF2-40B4-BE49-F238E27FC236}">
                <a16:creationId xmlns:a16="http://schemas.microsoft.com/office/drawing/2014/main" id="{AC1E1BEF-7CEE-8011-71B0-68F0F7ED3DBB}"/>
              </a:ext>
            </a:extLst>
          </p:cNvPr>
          <p:cNvSpPr>
            <a:spLocks noGrp="1" noChangeAspect="1"/>
          </p:cNvSpPr>
          <p:nvPr>
            <p:ph type="pic" sz="quarter" idx="24"/>
          </p:nvPr>
        </p:nvSpPr>
        <p:spPr>
          <a:xfrm>
            <a:off x="9388132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2D93BE3-A2EF-45BD-52EE-BE0CE5704C3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26660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6A1D9D11-B1DC-A8D1-7FEA-B26C35399BA2}"/>
              </a:ext>
            </a:extLst>
          </p:cNvPr>
          <p:cNvSpPr>
            <a:spLocks noGrp="1" noChangeAspect="1"/>
          </p:cNvSpPr>
          <p:nvPr>
            <p:ph type="pic" sz="quarter" idx="14"/>
          </p:nvPr>
        </p:nvSpPr>
        <p:spPr>
          <a:xfrm>
            <a:off x="3973781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E0E9982E-86E4-21ED-9386-2BE8F31125AA}"/>
              </a:ext>
            </a:extLst>
          </p:cNvPr>
          <p:cNvSpPr>
            <a:spLocks noGrp="1" noChangeAspect="1"/>
          </p:cNvSpPr>
          <p:nvPr>
            <p:ph type="pic" sz="quarter" idx="16"/>
          </p:nvPr>
        </p:nvSpPr>
        <p:spPr>
          <a:xfrm>
            <a:off x="6680956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5" name="Picture Placeholder 7">
            <a:extLst>
              <a:ext uri="{FF2B5EF4-FFF2-40B4-BE49-F238E27FC236}">
                <a16:creationId xmlns:a16="http://schemas.microsoft.com/office/drawing/2014/main" id="{ADF1BC7D-9E9D-7CD1-E8AA-262A162599E5}"/>
              </a:ext>
            </a:extLst>
          </p:cNvPr>
          <p:cNvSpPr>
            <a:spLocks noGrp="1" noChangeAspect="1"/>
          </p:cNvSpPr>
          <p:nvPr>
            <p:ph type="pic" sz="quarter" idx="18"/>
          </p:nvPr>
        </p:nvSpPr>
        <p:spPr>
          <a:xfrm>
            <a:off x="9388132" y="1368425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98348947-C76D-9C8F-348B-51A873307250}"/>
              </a:ext>
            </a:extLst>
          </p:cNvPr>
          <p:cNvSpPr>
            <a:spLocks noGrp="1" noChangeAspect="1"/>
          </p:cNvSpPr>
          <p:nvPr>
            <p:ph type="pic" sz="quarter" idx="20"/>
          </p:nvPr>
        </p:nvSpPr>
        <p:spPr>
          <a:xfrm>
            <a:off x="1266606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Picture Placeholder 7">
            <a:extLst>
              <a:ext uri="{FF2B5EF4-FFF2-40B4-BE49-F238E27FC236}">
                <a16:creationId xmlns:a16="http://schemas.microsoft.com/office/drawing/2014/main" id="{814B2C35-0E8C-3EF5-DFBB-4A646E3A6373}"/>
              </a:ext>
            </a:extLst>
          </p:cNvPr>
          <p:cNvSpPr>
            <a:spLocks noGrp="1" noChangeAspect="1"/>
          </p:cNvSpPr>
          <p:nvPr>
            <p:ph type="pic" sz="quarter" idx="22"/>
          </p:nvPr>
        </p:nvSpPr>
        <p:spPr>
          <a:xfrm>
            <a:off x="3973781" y="3813912"/>
            <a:ext cx="1526400" cy="15264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770887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0" name="Text Placeholder 28">
            <a:extLst>
              <a:ext uri="{FF2B5EF4-FFF2-40B4-BE49-F238E27FC236}">
                <a16:creationId xmlns:a16="http://schemas.microsoft.com/office/drawing/2014/main" id="{B1D750A3-997C-117C-3671-CF7A3758AF20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347806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1" name="Text Placeholder 28">
            <a:extLst>
              <a:ext uri="{FF2B5EF4-FFF2-40B4-BE49-F238E27FC236}">
                <a16:creationId xmlns:a16="http://schemas.microsoft.com/office/drawing/2014/main" id="{E5AC6BD1-147E-35E8-0B05-716817234140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6185239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2" name="Text Placeholder 28">
            <a:extLst>
              <a:ext uri="{FF2B5EF4-FFF2-40B4-BE49-F238E27FC236}">
                <a16:creationId xmlns:a16="http://schemas.microsoft.com/office/drawing/2014/main" id="{CF663DAB-E3A8-8E89-61F7-20DFA620D01B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8892413" y="2894825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3" name="Text Placeholder 28">
            <a:extLst>
              <a:ext uri="{FF2B5EF4-FFF2-40B4-BE49-F238E27FC236}">
                <a16:creationId xmlns:a16="http://schemas.microsoft.com/office/drawing/2014/main" id="{9EA348E3-0BA0-AB18-D019-848DA1B4F3F9}"/>
              </a:ext>
            </a:extLst>
          </p:cNvPr>
          <p:cNvSpPr>
            <a:spLocks noGrp="1"/>
          </p:cNvSpPr>
          <p:nvPr>
            <p:ph type="body" sz="quarter" idx="29" hasCustomPrompt="1"/>
          </p:nvPr>
        </p:nvSpPr>
        <p:spPr>
          <a:xfrm>
            <a:off x="770887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4" name="Text Placeholder 28">
            <a:extLst>
              <a:ext uri="{FF2B5EF4-FFF2-40B4-BE49-F238E27FC236}">
                <a16:creationId xmlns:a16="http://schemas.microsoft.com/office/drawing/2014/main" id="{607FE6B0-A2D9-C718-2193-A841C6CA052E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3478063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5" name="Text Placeholder 28">
            <a:extLst>
              <a:ext uri="{FF2B5EF4-FFF2-40B4-BE49-F238E27FC236}">
                <a16:creationId xmlns:a16="http://schemas.microsoft.com/office/drawing/2014/main" id="{E3216F32-B415-75E5-A176-3355725AB2C5}"/>
              </a:ext>
            </a:extLst>
          </p:cNvPr>
          <p:cNvSpPr>
            <a:spLocks noGrp="1"/>
          </p:cNvSpPr>
          <p:nvPr>
            <p:ph type="body" sz="quarter" idx="31" hasCustomPrompt="1"/>
          </p:nvPr>
        </p:nvSpPr>
        <p:spPr>
          <a:xfrm>
            <a:off x="6167952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36" name="Text Placeholder 28">
            <a:extLst>
              <a:ext uri="{FF2B5EF4-FFF2-40B4-BE49-F238E27FC236}">
                <a16:creationId xmlns:a16="http://schemas.microsoft.com/office/drawing/2014/main" id="{35ACE380-9E86-AB7F-35A9-F1C0E8040B0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8857841" y="5347080"/>
            <a:ext cx="2517836" cy="828713"/>
          </a:xfrm>
        </p:spPr>
        <p:txBody>
          <a:bodyPr lIns="0" tIns="72000" rIns="0" bIns="0"/>
          <a:lstStyle>
            <a:lvl1pPr algn="ctr"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126038467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am x8 al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indoor, dark&#10;&#10;Description automatically generated">
            <a:extLst>
              <a:ext uri="{FF2B5EF4-FFF2-40B4-BE49-F238E27FC236}">
                <a16:creationId xmlns:a16="http://schemas.microsoft.com/office/drawing/2014/main" id="{7FDA4DC1-7852-78AA-4819-510C1CBFAFB7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641"/>
          <a:stretch/>
        </p:blipFill>
        <p:spPr>
          <a:xfrm>
            <a:off x="1" y="0"/>
            <a:ext cx="12192000" cy="6169025"/>
          </a:xfrm>
          <a:prstGeom prst="rect">
            <a:avLst/>
          </a:prstGeom>
        </p:spPr>
      </p:pic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2FE7D91B-1563-CEA3-1FF8-3F546AD5B839}"/>
              </a:ext>
            </a:extLst>
          </p:cNvPr>
          <p:cNvSpPr>
            <a:spLocks noGrp="1" noChangeAspect="1"/>
          </p:cNvSpPr>
          <p:nvPr>
            <p:ph type="pic" sz="quarter" idx="27"/>
          </p:nvPr>
        </p:nvSpPr>
        <p:spPr>
          <a:xfrm>
            <a:off x="424103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Text Placeholder 28">
            <a:extLst>
              <a:ext uri="{FF2B5EF4-FFF2-40B4-BE49-F238E27FC236}">
                <a16:creationId xmlns:a16="http://schemas.microsoft.com/office/drawing/2014/main" id="{283449E4-2863-B781-158C-C0932DEE17B2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24103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992B7BF2-5FF0-E849-A565-A859C5F399DC}"/>
              </a:ext>
            </a:extLst>
          </p:cNvPr>
          <p:cNvSpPr>
            <a:spLocks noGrp="1" noChangeAspect="1"/>
          </p:cNvSpPr>
          <p:nvPr>
            <p:ph type="pic" sz="quarter" idx="12"/>
          </p:nvPr>
        </p:nvSpPr>
        <p:spPr>
          <a:xfrm>
            <a:off x="173162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Text Placeholder 22">
            <a:extLst>
              <a:ext uri="{FF2B5EF4-FFF2-40B4-BE49-F238E27FC236}">
                <a16:creationId xmlns:a16="http://schemas.microsoft.com/office/drawing/2014/main" id="{203A57B8-E234-CD88-D11C-D1DFE37ADDB4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 rot="16200000">
            <a:off x="-1415473" y="3470854"/>
            <a:ext cx="4113646" cy="1282700"/>
          </a:xfrm>
        </p:spPr>
        <p:txBody>
          <a:bodyPr anchor="ctr"/>
          <a:lstStyle>
            <a:lvl1pPr algn="r">
              <a:lnSpc>
                <a:spcPct val="80000"/>
              </a:lnSpc>
              <a:defRPr sz="3600"/>
            </a:lvl1pPr>
          </a:lstStyle>
          <a:p>
            <a:pPr lvl="0"/>
            <a:r>
              <a:rPr lang="en-GB"/>
              <a:t>Meet the team</a:t>
            </a:r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FD088EA-C24F-DD18-F246-C2F5956A757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30F78F1E-E169-B6FE-32EE-5E059C3F35CD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1" name="Rounded Rectangle 20">
            <a:extLst>
              <a:ext uri="{FF2B5EF4-FFF2-40B4-BE49-F238E27FC236}">
                <a16:creationId xmlns:a16="http://schemas.microsoft.com/office/drawing/2014/main" id="{A8800C4D-7BD6-C1AC-7F00-EFB865A171B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29" name="Text Placeholder 28">
            <a:extLst>
              <a:ext uri="{FF2B5EF4-FFF2-40B4-BE49-F238E27FC236}">
                <a16:creationId xmlns:a16="http://schemas.microsoft.com/office/drawing/2014/main" id="{47CA8422-1D2B-55E1-7CC5-FA76891B1DDA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173162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cxnSp>
        <p:nvCxnSpPr>
          <p:cNvPr id="18" name="Straight Connector 17">
            <a:extLst>
              <a:ext uri="{FF2B5EF4-FFF2-40B4-BE49-F238E27FC236}">
                <a16:creationId xmlns:a16="http://schemas.microsoft.com/office/drawing/2014/main" id="{8C787E02-54B7-34DE-48AF-51442EB2B509}"/>
              </a:ext>
            </a:extLst>
          </p:cNvPr>
          <p:cNvCxnSpPr>
            <a:cxnSpLocks/>
          </p:cNvCxnSpPr>
          <p:nvPr/>
        </p:nvCxnSpPr>
        <p:spPr>
          <a:xfrm>
            <a:off x="641350" y="0"/>
            <a:ext cx="0" cy="2012762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384A9924-D9B5-F558-4446-770722C9E658}"/>
              </a:ext>
            </a:extLst>
          </p:cNvPr>
          <p:cNvSpPr>
            <a:spLocks noGrp="1" noChangeAspect="1"/>
          </p:cNvSpPr>
          <p:nvPr>
            <p:ph type="pic" sz="quarter" idx="29"/>
          </p:nvPr>
        </p:nvSpPr>
        <p:spPr>
          <a:xfrm>
            <a:off x="6750437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9" name="Text Placeholder 28">
            <a:extLst>
              <a:ext uri="{FF2B5EF4-FFF2-40B4-BE49-F238E27FC236}">
                <a16:creationId xmlns:a16="http://schemas.microsoft.com/office/drawing/2014/main" id="{13B4A43A-7C48-6830-0A71-84B2AA8D5BC0}"/>
              </a:ext>
            </a:extLst>
          </p:cNvPr>
          <p:cNvSpPr>
            <a:spLocks noGrp="1"/>
          </p:cNvSpPr>
          <p:nvPr>
            <p:ph type="body" sz="quarter" idx="30" hasCustomPrompt="1"/>
          </p:nvPr>
        </p:nvSpPr>
        <p:spPr>
          <a:xfrm>
            <a:off x="6750437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0" name="Picture Placeholder 7">
            <a:extLst>
              <a:ext uri="{FF2B5EF4-FFF2-40B4-BE49-F238E27FC236}">
                <a16:creationId xmlns:a16="http://schemas.microsoft.com/office/drawing/2014/main" id="{09A357F1-DCB0-AAA1-FF7C-579CD51579A1}"/>
              </a:ext>
            </a:extLst>
          </p:cNvPr>
          <p:cNvSpPr>
            <a:spLocks noGrp="1" noChangeAspect="1"/>
          </p:cNvSpPr>
          <p:nvPr>
            <p:ph type="pic" sz="quarter" idx="31"/>
          </p:nvPr>
        </p:nvSpPr>
        <p:spPr>
          <a:xfrm>
            <a:off x="9259842" y="682625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1" name="Text Placeholder 28">
            <a:extLst>
              <a:ext uri="{FF2B5EF4-FFF2-40B4-BE49-F238E27FC236}">
                <a16:creationId xmlns:a16="http://schemas.microsoft.com/office/drawing/2014/main" id="{CFA284AE-D574-E303-87B5-B8731F5B3D55}"/>
              </a:ext>
            </a:extLst>
          </p:cNvPr>
          <p:cNvSpPr>
            <a:spLocks noGrp="1"/>
          </p:cNvSpPr>
          <p:nvPr>
            <p:ph type="body" sz="quarter" idx="32" hasCustomPrompt="1"/>
          </p:nvPr>
        </p:nvSpPr>
        <p:spPr>
          <a:xfrm>
            <a:off x="9259842" y="2011025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2" name="Picture Placeholder 7">
            <a:extLst>
              <a:ext uri="{FF2B5EF4-FFF2-40B4-BE49-F238E27FC236}">
                <a16:creationId xmlns:a16="http://schemas.microsoft.com/office/drawing/2014/main" id="{D8C052A2-B328-B532-B588-0344982F0D3F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73162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3" name="Text Placeholder 28">
            <a:extLst>
              <a:ext uri="{FF2B5EF4-FFF2-40B4-BE49-F238E27FC236}">
                <a16:creationId xmlns:a16="http://schemas.microsoft.com/office/drawing/2014/main" id="{CBB72990-AB1D-E7C4-6B75-0DB3F2E4BD4F}"/>
              </a:ext>
            </a:extLst>
          </p:cNvPr>
          <p:cNvSpPr>
            <a:spLocks noGrp="1"/>
          </p:cNvSpPr>
          <p:nvPr>
            <p:ph type="body" sz="quarter" idx="34" hasCustomPrompt="1"/>
          </p:nvPr>
        </p:nvSpPr>
        <p:spPr>
          <a:xfrm>
            <a:off x="173162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4" name="Picture Placeholder 7">
            <a:extLst>
              <a:ext uri="{FF2B5EF4-FFF2-40B4-BE49-F238E27FC236}">
                <a16:creationId xmlns:a16="http://schemas.microsoft.com/office/drawing/2014/main" id="{FD171AC2-82E6-C5F7-9D8F-179C5045CD7E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241032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5" name="Text Placeholder 28">
            <a:extLst>
              <a:ext uri="{FF2B5EF4-FFF2-40B4-BE49-F238E27FC236}">
                <a16:creationId xmlns:a16="http://schemas.microsoft.com/office/drawing/2014/main" id="{0AB05AEC-005A-3F1B-0C4D-64752EE8955B}"/>
              </a:ext>
            </a:extLst>
          </p:cNvPr>
          <p:cNvSpPr>
            <a:spLocks noGrp="1"/>
          </p:cNvSpPr>
          <p:nvPr>
            <p:ph type="body" sz="quarter" idx="36" hasCustomPrompt="1"/>
          </p:nvPr>
        </p:nvSpPr>
        <p:spPr>
          <a:xfrm>
            <a:off x="4241032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6" name="Picture Placeholder 7">
            <a:extLst>
              <a:ext uri="{FF2B5EF4-FFF2-40B4-BE49-F238E27FC236}">
                <a16:creationId xmlns:a16="http://schemas.microsoft.com/office/drawing/2014/main" id="{0EE26C2E-7158-576F-1378-CA79415AEBD0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6750437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7" name="Text Placeholder 28">
            <a:extLst>
              <a:ext uri="{FF2B5EF4-FFF2-40B4-BE49-F238E27FC236}">
                <a16:creationId xmlns:a16="http://schemas.microsoft.com/office/drawing/2014/main" id="{C5BD386D-E6DA-D6A7-A9E3-7D2E78533E12}"/>
              </a:ext>
            </a:extLst>
          </p:cNvPr>
          <p:cNvSpPr>
            <a:spLocks noGrp="1"/>
          </p:cNvSpPr>
          <p:nvPr>
            <p:ph type="body" sz="quarter" idx="38" hasCustomPrompt="1"/>
          </p:nvPr>
        </p:nvSpPr>
        <p:spPr>
          <a:xfrm>
            <a:off x="6750437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  <p:sp>
        <p:nvSpPr>
          <p:cNvPr id="48" name="Picture Placeholder 7">
            <a:extLst>
              <a:ext uri="{FF2B5EF4-FFF2-40B4-BE49-F238E27FC236}">
                <a16:creationId xmlns:a16="http://schemas.microsoft.com/office/drawing/2014/main" id="{06E30288-6192-C4BC-6B0F-03332A53846C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9258613" y="3189600"/>
            <a:ext cx="2296800" cy="22968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49" name="Text Placeholder 28">
            <a:extLst>
              <a:ext uri="{FF2B5EF4-FFF2-40B4-BE49-F238E27FC236}">
                <a16:creationId xmlns:a16="http://schemas.microsoft.com/office/drawing/2014/main" id="{80096700-6812-294E-0C3E-E5CC7858FD6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9258613" y="4518000"/>
            <a:ext cx="2296800" cy="968400"/>
          </a:xfrm>
          <a:gradFill>
            <a:gsLst>
              <a:gs pos="0">
                <a:schemeClr val="tx1">
                  <a:alpha val="73000"/>
                </a:schemeClr>
              </a:gs>
              <a:gs pos="100000">
                <a:schemeClr val="tx1">
                  <a:alpha val="0"/>
                </a:schemeClr>
              </a:gs>
            </a:gsLst>
            <a:lin ang="16200000" scaled="1"/>
          </a:gradFill>
        </p:spPr>
        <p:txBody>
          <a:bodyPr lIns="144000" tIns="36000" rIns="144000" bIns="144000" anchor="b"/>
          <a:lstStyle>
            <a:lvl1pPr algn="ctr">
              <a:lnSpc>
                <a:spcPct val="100000"/>
              </a:lnSpc>
              <a:spcAft>
                <a:spcPts val="0"/>
              </a:spcAft>
              <a:defRPr sz="1400" b="1">
                <a:solidFill>
                  <a:schemeClr val="bg1"/>
                </a:solidFill>
              </a:defRPr>
            </a:lvl1pPr>
            <a:lvl2pPr algn="ctr">
              <a:lnSpc>
                <a:spcPct val="100000"/>
              </a:lnSpc>
              <a:spcAft>
                <a:spcPts val="0"/>
              </a:spcAft>
              <a:defRPr sz="1100">
                <a:solidFill>
                  <a:schemeClr val="bg1"/>
                </a:solidFill>
              </a:defRPr>
            </a:lvl2pPr>
            <a:lvl3pPr marL="0" indent="0">
              <a:buNone/>
              <a:defRPr/>
            </a:lvl3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Job Title</a:t>
            </a:r>
          </a:p>
        </p:txBody>
      </p:sp>
    </p:spTree>
    <p:extLst>
      <p:ext uri="{BB962C8B-B14F-4D97-AF65-F5344CB8AC3E}">
        <p14:creationId xmlns:p14="http://schemas.microsoft.com/office/powerpoint/2010/main" val="2413801255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ios x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reeform 6">
            <a:extLst>
              <a:ext uri="{FF2B5EF4-FFF2-40B4-BE49-F238E27FC236}">
                <a16:creationId xmlns:a16="http://schemas.microsoft.com/office/drawing/2014/main" id="{5815C96E-6900-B6B5-815D-4D8E8D008112}"/>
              </a:ext>
            </a:extLst>
          </p:cNvPr>
          <p:cNvSpPr/>
          <p:nvPr/>
        </p:nvSpPr>
        <p:spPr>
          <a:xfrm>
            <a:off x="4063800" y="0"/>
            <a:ext cx="4064400" cy="6169024"/>
          </a:xfrm>
          <a:custGeom>
            <a:avLst/>
            <a:gdLst>
              <a:gd name="connsiteX0" fmla="*/ 0 w 4064400"/>
              <a:gd name="connsiteY0" fmla="*/ 0 h 6169024"/>
              <a:gd name="connsiteX1" fmla="*/ 4064400 w 4064400"/>
              <a:gd name="connsiteY1" fmla="*/ 0 h 6169024"/>
              <a:gd name="connsiteX2" fmla="*/ 4064400 w 4064400"/>
              <a:gd name="connsiteY2" fmla="*/ 6169024 h 6169024"/>
              <a:gd name="connsiteX3" fmla="*/ 0 w 4064400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064400" h="6169024">
                <a:moveTo>
                  <a:pt x="0" y="0"/>
                </a:moveTo>
                <a:lnTo>
                  <a:pt x="4064400" y="0"/>
                </a:lnTo>
                <a:lnTo>
                  <a:pt x="4064400" y="6169024"/>
                </a:lnTo>
                <a:lnTo>
                  <a:pt x="0" y="6169024"/>
                </a:lnTo>
                <a:close/>
              </a:path>
            </a:pathLst>
          </a:cu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72000" rIns="72000" rtlCol="0" anchor="ctr">
            <a:noAutofit/>
          </a:bodyPr>
          <a:lstStyle/>
          <a:p>
            <a:pPr algn="ctr"/>
            <a:endParaRPr lang="en-GB" sz="140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32CC0C5C-99D1-99BB-CABB-CC6FB255B26D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D0E00792-06FC-7E14-8396-F27E3154E3A4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935B2C59-8A37-64E6-6CBA-C5AECEC501B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Picture Placeholder 8">
            <a:extLst>
              <a:ext uri="{FF2B5EF4-FFF2-40B4-BE49-F238E27FC236}">
                <a16:creationId xmlns:a16="http://schemas.microsoft.com/office/drawing/2014/main" id="{D272F750-99B3-124C-D8D3-F1286B3773D4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063800" y="0"/>
            <a:ext cx="4064400" cy="2670175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2" name="Picture Placeholder 8">
            <a:extLst>
              <a:ext uri="{FF2B5EF4-FFF2-40B4-BE49-F238E27FC236}">
                <a16:creationId xmlns:a16="http://schemas.microsoft.com/office/drawing/2014/main" id="{F7023C7E-EF93-8C6E-835A-939EDCF9629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8127600" y="0"/>
            <a:ext cx="4064400" cy="267017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9" name="Text Placeholder 18">
            <a:extLst>
              <a:ext uri="{FF2B5EF4-FFF2-40B4-BE49-F238E27FC236}">
                <a16:creationId xmlns:a16="http://schemas.microsoft.com/office/drawing/2014/main" id="{7365F35F-7775-B95E-825A-60563DB58AA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11163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1" name="Text Placeholder 20">
            <a:extLst>
              <a:ext uri="{FF2B5EF4-FFF2-40B4-BE49-F238E27FC236}">
                <a16:creationId xmlns:a16="http://schemas.microsoft.com/office/drawing/2014/main" id="{BD75C35C-A936-78DA-A517-9B8EF3CF101E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11163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2" name="Text Placeholder 18">
            <a:extLst>
              <a:ext uri="{FF2B5EF4-FFF2-40B4-BE49-F238E27FC236}">
                <a16:creationId xmlns:a16="http://schemas.microsoft.com/office/drawing/2014/main" id="{D6471E19-8CCC-B0DF-8C3F-7CB2503D5D1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470184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3" name="Text Placeholder 20">
            <a:extLst>
              <a:ext uri="{FF2B5EF4-FFF2-40B4-BE49-F238E27FC236}">
                <a16:creationId xmlns:a16="http://schemas.microsoft.com/office/drawing/2014/main" id="{014B1B71-F74A-A303-FC3B-F4A8195843F0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467225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4" name="Text Placeholder 18">
            <a:extLst>
              <a:ext uri="{FF2B5EF4-FFF2-40B4-BE49-F238E27FC236}">
                <a16:creationId xmlns:a16="http://schemas.microsoft.com/office/drawing/2014/main" id="{4A48D3C2-9B59-84FE-83E7-B0F97C9E71D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553811" y="2852738"/>
            <a:ext cx="3251632" cy="660109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b="1">
                <a:solidFill>
                  <a:schemeClr val="tx2"/>
                </a:solidFill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defRPr/>
            </a:lvl3pPr>
            <a:lvl4pPr>
              <a:lnSpc>
                <a:spcPct val="100000"/>
              </a:lnSpc>
              <a:defRPr/>
            </a:lvl4pPr>
            <a:lvl5pPr>
              <a:lnSpc>
                <a:spcPct val="100000"/>
              </a:lnSpc>
              <a:defRPr/>
            </a:lvl5pPr>
          </a:lstStyle>
          <a:p>
            <a:pPr lvl="0"/>
            <a:r>
              <a:rPr lang="en-GB"/>
              <a:t>First Name Surname</a:t>
            </a:r>
          </a:p>
          <a:p>
            <a:pPr lvl="1"/>
            <a:r>
              <a:rPr lang="en-GB"/>
              <a:t>Second level</a:t>
            </a:r>
          </a:p>
        </p:txBody>
      </p:sp>
      <p:sp>
        <p:nvSpPr>
          <p:cNvPr id="25" name="Text Placeholder 20">
            <a:extLst>
              <a:ext uri="{FF2B5EF4-FFF2-40B4-BE49-F238E27FC236}">
                <a16:creationId xmlns:a16="http://schemas.microsoft.com/office/drawing/2014/main" id="{A7224203-3DFE-E8BA-9C78-241EA5FF8CA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8550852" y="3644821"/>
            <a:ext cx="3257550" cy="2007842"/>
          </a:xfrm>
        </p:spPr>
        <p:txBody>
          <a:bodyPr/>
          <a:lstStyle>
            <a:lvl1pPr>
              <a:defRPr sz="1100"/>
            </a:lvl1pPr>
            <a:lvl2pPr>
              <a:defRPr sz="1400"/>
            </a:lvl2pPr>
            <a:lvl3pPr>
              <a:defRPr sz="1100"/>
            </a:lvl3pPr>
            <a:lvl4pPr>
              <a:defRPr sz="1100"/>
            </a:lvl4pPr>
            <a:lvl5pPr>
              <a:defRPr sz="1100"/>
            </a:lvl5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45768582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6B500C5C-55A0-3C8A-0687-A33E321F6869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560B1CD-282B-07A4-3E89-E1D0C76CC9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1368426"/>
            <a:ext cx="3704189" cy="343217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7699375" y="682625"/>
            <a:ext cx="3856038" cy="5486398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BAD7BE90-3BDC-F609-DA85-653C974727EC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413500" y="2060575"/>
            <a:ext cx="2568575" cy="2730498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Rounded Rectangle 4">
            <a:extLst>
              <a:ext uri="{FF2B5EF4-FFF2-40B4-BE49-F238E27FC236}">
                <a16:creationId xmlns:a16="http://schemas.microsoft.com/office/drawing/2014/main" id="{B4643C89-D039-12D0-AD23-86C897EB3177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ADCBEA58-69E7-D73B-4B63-819B5DEF3E49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9723469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2463476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1" name="Picture Placeholder 8">
            <a:extLst>
              <a:ext uri="{FF2B5EF4-FFF2-40B4-BE49-F238E27FC236}">
                <a16:creationId xmlns:a16="http://schemas.microsoft.com/office/drawing/2014/main" id="{1F82C0E6-ABEE-E744-BED6-3CF463ACD28F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3088118"/>
            <a:ext cx="6096000" cy="3080905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416675" y="3080906"/>
            <a:ext cx="5138738" cy="308090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B661CDCE-8667-108C-D192-8D82B9BCDBC4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2348586063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12192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E7251E75-5D43-155E-9EF9-2835F16A02A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897811184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4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8">
            <a:extLst>
              <a:ext uri="{FF2B5EF4-FFF2-40B4-BE49-F238E27FC236}">
                <a16:creationId xmlns:a16="http://schemas.microsoft.com/office/drawing/2014/main" id="{82E15243-F728-E95D-70AB-7AE8C857CBD3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0" y="0"/>
            <a:ext cx="6096000" cy="3429000"/>
          </a:xfrm>
          <a:solidFill>
            <a:schemeClr val="bg1">
              <a:lumMod val="50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3429000"/>
            <a:ext cx="4345538" cy="2740024"/>
          </a:xfrm>
        </p:spPr>
        <p:txBody>
          <a:bodyPr anchor="ctr"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Picture Placeholder 8">
            <a:extLst>
              <a:ext uri="{FF2B5EF4-FFF2-40B4-BE49-F238E27FC236}">
                <a16:creationId xmlns:a16="http://schemas.microsoft.com/office/drawing/2014/main" id="{B5F49B39-D9E3-959B-708D-6A74A51B6E56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096000" y="0"/>
            <a:ext cx="6096000" cy="3429000"/>
          </a:xfrm>
          <a:solidFill>
            <a:schemeClr val="bg1">
              <a:lumMod val="65000"/>
            </a:schemeClr>
          </a:solidFill>
        </p:spPr>
        <p:txBody>
          <a:bodyPr anchor="ctr"/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7BD4F01D-E5FA-8B13-BDAA-28E7F353DE30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096000" y="3429000"/>
            <a:ext cx="5459413" cy="2740025"/>
          </a:xfrm>
        </p:spPr>
        <p:txBody>
          <a:bodyPr anchor="ctr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7DA4BE3-56CF-7014-FEAC-F83276D7734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490432389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5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19C604F0-B5CD-0F0A-9FCD-FB9A1EF29C3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2149" y="0"/>
            <a:ext cx="3209925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34E08D6B-F466-16BC-3391-106E8FFF1173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67366832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6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5775326" y="0"/>
            <a:ext cx="6416674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775326" y="3080906"/>
            <a:ext cx="6416674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6940F16F-80F7-0DAF-13F8-888A58AA174A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557657408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7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308090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3080906"/>
            <a:ext cx="3209925" cy="308812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7553B5CB-779B-F9C8-9782-2B3EFD9A5A7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82549064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ase Study Slide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D6D3A19-B41C-5A47-AF82-CCA882BCAB92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9600" y="2941638"/>
            <a:ext cx="10969625" cy="3170237"/>
          </a:xfr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870493FC-9EBB-4A46-AA09-0DD6BBE20D6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8065" y="609600"/>
            <a:ext cx="10965600" cy="777240"/>
          </a:xfrm>
        </p:spPr>
        <p:txBody>
          <a:bodyPr/>
          <a:lstStyle/>
          <a:p>
            <a:r>
              <a:rPr lang="en-GB"/>
              <a:t>Case Study Title Goes Here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89C7FB5-AB7C-4D4E-B862-274C7B493D1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 i="1"/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F0A1A650-1E2A-4846-B039-EEC37AF7E1D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E27557F0-1BBA-6647-9998-DCEAAFB33B6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19531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53948A59-8AF0-DE4F-8535-2F0B40648D11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991068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21" name="Text Placeholder 8">
            <a:extLst>
              <a:ext uri="{FF2B5EF4-FFF2-40B4-BE49-F238E27FC236}">
                <a16:creationId xmlns:a16="http://schemas.microsoft.com/office/drawing/2014/main" id="{18F82DBF-EC05-BD45-B722-B564A053E9EB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305300" y="2166001"/>
            <a:ext cx="3595053" cy="661020"/>
          </a:xfrm>
          <a:solidFill>
            <a:schemeClr val="accent5">
              <a:lumMod val="90000"/>
            </a:schemeClr>
          </a:solidFill>
        </p:spPr>
        <p:txBody>
          <a:bodyPr anchor="ctr">
            <a:normAutofit/>
          </a:bodyPr>
          <a:lstStyle>
            <a:lvl1pPr algn="ctr">
              <a:defRPr sz="1200"/>
            </a:lvl1pPr>
          </a:lstStyle>
          <a:p>
            <a:pPr lvl="0"/>
            <a:r>
              <a:rPr lang="en-US"/>
              <a:t> Sub Heading Goes Here</a:t>
            </a:r>
          </a:p>
        </p:txBody>
      </p:sp>
      <p:sp>
        <p:nvSpPr>
          <p:cNvPr id="33" name="Text Placeholder 32">
            <a:extLst>
              <a:ext uri="{FF2B5EF4-FFF2-40B4-BE49-F238E27FC236}">
                <a16:creationId xmlns:a16="http://schemas.microsoft.com/office/drawing/2014/main" id="{75B94588-F5B7-004F-AF61-113E2169F510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9530" y="1531620"/>
            <a:ext cx="10966590" cy="542176"/>
          </a:xfrm>
          <a:custGeom>
            <a:avLst/>
            <a:gdLst>
              <a:gd name="connsiteX0" fmla="*/ 7371537 w 10966590"/>
              <a:gd name="connsiteY0" fmla="*/ 0 h 542176"/>
              <a:gd name="connsiteX1" fmla="*/ 10966590 w 10966590"/>
              <a:gd name="connsiteY1" fmla="*/ 0 h 542176"/>
              <a:gd name="connsiteX2" fmla="*/ 10966590 w 10966590"/>
              <a:gd name="connsiteY2" fmla="*/ 542176 h 542176"/>
              <a:gd name="connsiteX3" fmla="*/ 7371537 w 10966590"/>
              <a:gd name="connsiteY3" fmla="*/ 542176 h 542176"/>
              <a:gd name="connsiteX4" fmla="*/ 3685769 w 10966590"/>
              <a:gd name="connsiteY4" fmla="*/ 0 h 542176"/>
              <a:gd name="connsiteX5" fmla="*/ 7280822 w 10966590"/>
              <a:gd name="connsiteY5" fmla="*/ 0 h 542176"/>
              <a:gd name="connsiteX6" fmla="*/ 7280822 w 10966590"/>
              <a:gd name="connsiteY6" fmla="*/ 542176 h 542176"/>
              <a:gd name="connsiteX7" fmla="*/ 3685769 w 10966590"/>
              <a:gd name="connsiteY7" fmla="*/ 542176 h 542176"/>
              <a:gd name="connsiteX8" fmla="*/ 0 w 10966590"/>
              <a:gd name="connsiteY8" fmla="*/ 0 h 542176"/>
              <a:gd name="connsiteX9" fmla="*/ 3595053 w 10966590"/>
              <a:gd name="connsiteY9" fmla="*/ 0 h 542176"/>
              <a:gd name="connsiteX10" fmla="*/ 3595053 w 10966590"/>
              <a:gd name="connsiteY10" fmla="*/ 542176 h 542176"/>
              <a:gd name="connsiteX11" fmla="*/ 0 w 10966590"/>
              <a:gd name="connsiteY11" fmla="*/ 542176 h 54217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</a:cxnLst>
            <a:rect l="l" t="t" r="r" b="b"/>
            <a:pathLst>
              <a:path w="10966590" h="542176">
                <a:moveTo>
                  <a:pt x="7371537" y="0"/>
                </a:moveTo>
                <a:lnTo>
                  <a:pt x="10966590" y="0"/>
                </a:lnTo>
                <a:lnTo>
                  <a:pt x="10966590" y="542176"/>
                </a:lnTo>
                <a:lnTo>
                  <a:pt x="7371537" y="542176"/>
                </a:lnTo>
                <a:close/>
                <a:moveTo>
                  <a:pt x="3685769" y="0"/>
                </a:moveTo>
                <a:lnTo>
                  <a:pt x="7280822" y="0"/>
                </a:lnTo>
                <a:lnTo>
                  <a:pt x="7280822" y="542176"/>
                </a:lnTo>
                <a:lnTo>
                  <a:pt x="3685769" y="542176"/>
                </a:lnTo>
                <a:close/>
                <a:moveTo>
                  <a:pt x="0" y="0"/>
                </a:moveTo>
                <a:lnTo>
                  <a:pt x="3595053" y="0"/>
                </a:lnTo>
                <a:lnTo>
                  <a:pt x="3595053" y="542176"/>
                </a:lnTo>
                <a:lnTo>
                  <a:pt x="0" y="542176"/>
                </a:lnTo>
                <a:close/>
              </a:path>
            </a:pathLst>
          </a:custGeom>
          <a:gradFill>
            <a:gsLst>
              <a:gs pos="0">
                <a:schemeClr val="accent2"/>
              </a:gs>
              <a:gs pos="100000">
                <a:schemeClr val="accent3"/>
              </a:gs>
            </a:gsLst>
            <a:lin ang="0" scaled="1"/>
          </a:gradFill>
        </p:spPr>
        <p:txBody>
          <a:bodyPr wrap="square" anchor="ctr">
            <a:noAutofit/>
          </a:bodyPr>
          <a:lstStyle>
            <a:lvl1pPr algn="ctr">
              <a:defRPr sz="1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5F798D50-4CE4-F447-87F8-15FF8A1658CF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619531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1" name="Text Placeholder 8">
            <a:extLst>
              <a:ext uri="{FF2B5EF4-FFF2-40B4-BE49-F238E27FC236}">
                <a16:creationId xmlns:a16="http://schemas.microsoft.com/office/drawing/2014/main" id="{DD283EE5-3BA3-874C-A54B-C4EDCBEDDAC1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7991068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  <p:sp>
        <p:nvSpPr>
          <p:cNvPr id="32" name="Text Placeholder 8">
            <a:extLst>
              <a:ext uri="{FF2B5EF4-FFF2-40B4-BE49-F238E27FC236}">
                <a16:creationId xmlns:a16="http://schemas.microsoft.com/office/drawing/2014/main" id="{E5589F9A-A53F-A84C-B850-BA74F7670512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4305300" y="1538288"/>
            <a:ext cx="3595053" cy="542176"/>
          </a:xfrm>
          <a:noFill/>
        </p:spPr>
        <p:txBody>
          <a:bodyPr anchor="ctr">
            <a:normAutofit/>
          </a:bodyPr>
          <a:lstStyle>
            <a:lvl1pPr algn="ctr">
              <a:defRPr sz="14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Heading Goes Here</a:t>
            </a:r>
          </a:p>
        </p:txBody>
      </p:sp>
    </p:spTree>
    <p:extLst>
      <p:ext uri="{BB962C8B-B14F-4D97-AF65-F5344CB8AC3E}">
        <p14:creationId xmlns:p14="http://schemas.microsoft.com/office/powerpoint/2010/main" val="592681589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8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8982074" y="0"/>
            <a:ext cx="3209925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69E8FC60-2748-9785-AA1C-72C5CE713A3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2" y="279724"/>
            <a:ext cx="4345538" cy="1780851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9AD4E916-2DD8-FF0C-58AD-D72A9EEA19D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79463" y="2060576"/>
            <a:ext cx="4351337" cy="4101236"/>
          </a:xfrm>
        </p:spPr>
        <p:txBody>
          <a:bodyPr anchor="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982074" y="3429000"/>
            <a:ext cx="3209925" cy="274002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5772149" y="0"/>
            <a:ext cx="3209925" cy="2060575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772149" y="2067788"/>
            <a:ext cx="3209925" cy="410123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Rounded Rectangle 8">
            <a:extLst>
              <a:ext uri="{FF2B5EF4-FFF2-40B4-BE49-F238E27FC236}">
                <a16:creationId xmlns:a16="http://schemas.microsoft.com/office/drawing/2014/main" id="{F56B88C7-709E-7FB2-AB08-704E04F89CDD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</p:spTree>
    <p:extLst>
      <p:ext uri="{BB962C8B-B14F-4D97-AF65-F5344CB8AC3E}">
        <p14:creationId xmlns:p14="http://schemas.microsoft.com/office/powerpoint/2010/main" val="396446027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9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0" y="0"/>
            <a:ext cx="6095999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70795D6-B814-4E36-78A9-7634816C853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3429000"/>
            <a:ext cx="6095999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0"/>
            <a:ext cx="6096000" cy="34290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CEBCEFB0-A758-D703-7D10-8D8D69D699E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3429000"/>
            <a:ext cx="6096000" cy="3422647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093B9B1-A201-4E32-4849-535812A3D3AA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2605948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0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096001" y="0"/>
            <a:ext cx="6095999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0" y="1"/>
            <a:ext cx="6096000" cy="6169022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3A5C8769-3003-F7AE-6734-71EC4497CBB4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3600934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Mosaic #11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416675" y="0"/>
            <a:ext cx="2565400" cy="61690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410B3015-6849-048C-AD97-C517676F76E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-1" y="0"/>
            <a:ext cx="6416675" cy="27432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B5946053-E62C-3605-EB68-E7DEC59EE04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0" y="2743200"/>
            <a:ext cx="3206750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7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Picture Placeholder 6">
            <a:extLst>
              <a:ext uri="{FF2B5EF4-FFF2-40B4-BE49-F238E27FC236}">
                <a16:creationId xmlns:a16="http://schemas.microsoft.com/office/drawing/2014/main" id="{8EDF04BE-2ED7-E23F-7734-81C214CCA853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206749" y="2743200"/>
            <a:ext cx="3209925" cy="3425824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FC2092C-D564-C5A9-C97F-348F2ECB44D2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8982075" y="0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75EB5095-7804-C3E6-7402-3C7A63C0BA76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8982075" y="3082924"/>
            <a:ext cx="3209925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C9A5F4A-8E2C-947C-0714-E5C346E24C4E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65628239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osaic #12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74E66905-64DD-F656-2F93-6BFFEBAA4CBA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-600" y="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B57D188-B471-37A0-46D7-C838B0A4339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6D02EAE9-6FEB-3B2A-1FC1-8E887DB192C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BBB13102-A20D-BCDF-666A-2DBE1AC13C07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600" y="3086100"/>
            <a:ext cx="3044848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2" name="Picture Placeholder 21">
            <a:extLst>
              <a:ext uri="{FF2B5EF4-FFF2-40B4-BE49-F238E27FC236}">
                <a16:creationId xmlns:a16="http://schemas.microsoft.com/office/drawing/2014/main" id="{6F490869-D1DC-C579-A316-10A2245BB8A2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044248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3" name="Picture Placeholder 22">
            <a:extLst>
              <a:ext uri="{FF2B5EF4-FFF2-40B4-BE49-F238E27FC236}">
                <a16:creationId xmlns:a16="http://schemas.microsoft.com/office/drawing/2014/main" id="{AED58FB9-EF60-89EE-C72E-92CE23001F82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044248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4" name="Picture Placeholder 23">
            <a:extLst>
              <a:ext uri="{FF2B5EF4-FFF2-40B4-BE49-F238E27FC236}">
                <a16:creationId xmlns:a16="http://schemas.microsoft.com/office/drawing/2014/main" id="{4823CF1B-0C04-D7AF-5C5C-1F72BEB334B2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096000" y="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5" name="Picture Placeholder 24">
            <a:extLst>
              <a:ext uri="{FF2B5EF4-FFF2-40B4-BE49-F238E27FC236}">
                <a16:creationId xmlns:a16="http://schemas.microsoft.com/office/drawing/2014/main" id="{3DB2B6A3-4F93-8812-1A03-1B748F6B2AE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096000" y="3086100"/>
            <a:ext cx="3046114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6" name="Picture Placeholder 25">
            <a:extLst>
              <a:ext uri="{FF2B5EF4-FFF2-40B4-BE49-F238E27FC236}">
                <a16:creationId xmlns:a16="http://schemas.microsoft.com/office/drawing/2014/main" id="{66B79E47-FA84-B264-D708-BEA6E7FE3727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9142114" y="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65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3BB89B72-822F-BF1F-3F86-58950787269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142114" y="3086100"/>
            <a:ext cx="3051752" cy="3086100"/>
          </a:xfrm>
          <a:custGeom>
            <a:avLst/>
            <a:gdLst>
              <a:gd name="connsiteX0" fmla="*/ 0 w 3209925"/>
              <a:gd name="connsiteY0" fmla="*/ 0 h 6169024"/>
              <a:gd name="connsiteX1" fmla="*/ 3209925 w 3209925"/>
              <a:gd name="connsiteY1" fmla="*/ 0 h 6169024"/>
              <a:gd name="connsiteX2" fmla="*/ 3209925 w 3209925"/>
              <a:gd name="connsiteY2" fmla="*/ 6169024 h 6169024"/>
              <a:gd name="connsiteX3" fmla="*/ 0 w 3209925"/>
              <a:gd name="connsiteY3" fmla="*/ 6169024 h 616902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3209925" h="6169024">
                <a:moveTo>
                  <a:pt x="0" y="0"/>
                </a:moveTo>
                <a:lnTo>
                  <a:pt x="3209925" y="0"/>
                </a:lnTo>
                <a:lnTo>
                  <a:pt x="3209925" y="6169024"/>
                </a:lnTo>
                <a:lnTo>
                  <a:pt x="0" y="6169024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7442624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desktop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>
            <a:extLst>
              <a:ext uri="{FF2B5EF4-FFF2-40B4-BE49-F238E27FC236}">
                <a16:creationId xmlns:a16="http://schemas.microsoft.com/office/drawing/2014/main" id="{6C93688E-1263-9D36-62A7-80F8CE19F9A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b="8569"/>
          <a:stretch/>
        </p:blipFill>
        <p:spPr>
          <a:xfrm>
            <a:off x="6845670" y="2590799"/>
            <a:ext cx="4860531" cy="3578225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BDFA67B3-1709-54E4-5A04-C5259FF0FEE8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6982977" y="2742325"/>
            <a:ext cx="4585917" cy="2579578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45262591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edia - mobil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1492FA8-3242-7065-DBEC-298BE6E57CF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731CFF7E-90AD-556E-DD8E-9CECD3DB0C9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EF234DB0-3004-509D-820F-9FF2CCC20F59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7549953D-8BB0-B383-F725-C756E776B3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3206750" y="2060575"/>
            <a:ext cx="3209925" cy="4010025"/>
          </a:xfrm>
        </p:spPr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4" name="Rounded Rectangle 13">
            <a:extLst>
              <a:ext uri="{FF2B5EF4-FFF2-40B4-BE49-F238E27FC236}">
                <a16:creationId xmlns:a16="http://schemas.microsoft.com/office/drawing/2014/main" id="{E4B74144-F9DF-403B-B5C8-C97073D4EE4C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85FC0EE2-F2F1-F95E-5296-A4799BF2E1C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2" name="Text Placeholder 7">
            <a:extLst>
              <a:ext uri="{FF2B5EF4-FFF2-40B4-BE49-F238E27FC236}">
                <a16:creationId xmlns:a16="http://schemas.microsoft.com/office/drawing/2014/main" id="{F3C9BFFC-B4D9-44A6-1923-855BB7D10B9A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313541" y="1283759"/>
            <a:ext cx="2239057" cy="4702175"/>
          </a:xfrm>
          <a:prstGeom prst="roundRect">
            <a:avLst>
              <a:gd name="adj" fmla="val 12251"/>
            </a:avLst>
          </a:prstGeom>
          <a:solidFill>
            <a:schemeClr val="tx1"/>
          </a:solidFill>
        </p:spPr>
        <p:txBody>
          <a:bodyPr/>
          <a:lstStyle>
            <a:lvl1pPr>
              <a:defRPr sz="100">
                <a:noFill/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7" name="Picture Placeholder 5">
            <a:extLst>
              <a:ext uri="{FF2B5EF4-FFF2-40B4-BE49-F238E27FC236}">
                <a16:creationId xmlns:a16="http://schemas.microsoft.com/office/drawing/2014/main" id="{D9883130-8A5B-7D6C-2C29-C580C41FDA04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9384617" y="1345678"/>
            <a:ext cx="2096905" cy="4578337"/>
          </a:xfrm>
          <a:custGeom>
            <a:avLst/>
            <a:gdLst>
              <a:gd name="connsiteX0" fmla="*/ 256226 w 2454413"/>
              <a:gd name="connsiteY0" fmla="*/ 84 h 5358912"/>
              <a:gd name="connsiteX1" fmla="*/ 409999 w 2454413"/>
              <a:gd name="connsiteY1" fmla="*/ 833 h 5358912"/>
              <a:gd name="connsiteX2" fmla="*/ 532204 w 2454413"/>
              <a:gd name="connsiteY2" fmla="*/ 84 h 5358912"/>
              <a:gd name="connsiteX3" fmla="*/ 646470 w 2454413"/>
              <a:gd name="connsiteY3" fmla="*/ 1020 h 5358912"/>
              <a:gd name="connsiteX4" fmla="*/ 875098 w 2454413"/>
              <a:gd name="connsiteY4" fmla="*/ 84 h 5358912"/>
              <a:gd name="connsiteX5" fmla="*/ 1086808 w 2454413"/>
              <a:gd name="connsiteY5" fmla="*/ 84 h 5358912"/>
              <a:gd name="connsiteX6" fmla="*/ 1287080 w 2454413"/>
              <a:gd name="connsiteY6" fmla="*/ 84 h 5358912"/>
              <a:gd name="connsiteX7" fmla="*/ 1497562 w 2454413"/>
              <a:gd name="connsiteY7" fmla="*/ 739 h 5358912"/>
              <a:gd name="connsiteX8" fmla="*/ 1686588 w 2454413"/>
              <a:gd name="connsiteY8" fmla="*/ 84 h 5358912"/>
              <a:gd name="connsiteX9" fmla="*/ 1900472 w 2454413"/>
              <a:gd name="connsiteY9" fmla="*/ 84 h 5358912"/>
              <a:gd name="connsiteX10" fmla="*/ 2071446 w 2454413"/>
              <a:gd name="connsiteY10" fmla="*/ 177 h 5358912"/>
              <a:gd name="connsiteX11" fmla="*/ 2198189 w 2454413"/>
              <a:gd name="connsiteY11" fmla="*/ 84 h 5358912"/>
              <a:gd name="connsiteX12" fmla="*/ 2446853 w 2454413"/>
              <a:gd name="connsiteY12" fmla="*/ 189884 h 5358912"/>
              <a:gd name="connsiteX13" fmla="*/ 2453941 w 2454413"/>
              <a:gd name="connsiteY13" fmla="*/ 259959 h 5358912"/>
              <a:gd name="connsiteX14" fmla="*/ 2454225 w 2454413"/>
              <a:gd name="connsiteY14" fmla="*/ 1370190 h 5358912"/>
              <a:gd name="connsiteX15" fmla="*/ 2454225 w 2454413"/>
              <a:gd name="connsiteY15" fmla="*/ 2680434 h 5358912"/>
              <a:gd name="connsiteX16" fmla="*/ 2454413 w 2454413"/>
              <a:gd name="connsiteY16" fmla="*/ 5106531 h 5358912"/>
              <a:gd name="connsiteX17" fmla="*/ 2379181 w 2454413"/>
              <a:gd name="connsiteY17" fmla="*/ 5287151 h 5358912"/>
              <a:gd name="connsiteX18" fmla="*/ 2196865 w 2454413"/>
              <a:gd name="connsiteY18" fmla="*/ 5358912 h 5358912"/>
              <a:gd name="connsiteX19" fmla="*/ 1017340 w 2454413"/>
              <a:gd name="connsiteY19" fmla="*/ 5358724 h 5358912"/>
              <a:gd name="connsiteX20" fmla="*/ 254714 w 2454413"/>
              <a:gd name="connsiteY20" fmla="*/ 5358912 h 5358912"/>
              <a:gd name="connsiteX21" fmla="*/ 104249 w 2454413"/>
              <a:gd name="connsiteY21" fmla="*/ 5311227 h 5358912"/>
              <a:gd name="connsiteX22" fmla="*/ 95 w 2454413"/>
              <a:gd name="connsiteY22" fmla="*/ 5103345 h 5358912"/>
              <a:gd name="connsiteX23" fmla="*/ 284 w 2454413"/>
              <a:gd name="connsiteY23" fmla="*/ 4192002 h 5358912"/>
              <a:gd name="connsiteX24" fmla="*/ 0 w 2454413"/>
              <a:gd name="connsiteY24" fmla="*/ 261271 h 5358912"/>
              <a:gd name="connsiteX25" fmla="*/ 117669 w 2454413"/>
              <a:gd name="connsiteY25" fmla="*/ 39149 h 5358912"/>
              <a:gd name="connsiteX26" fmla="*/ 256226 w 2454413"/>
              <a:gd name="connsiteY26" fmla="*/ 84 h 535891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</a:cxnLst>
            <a:rect l="l" t="t" r="r" b="b"/>
            <a:pathLst>
              <a:path w="2454413" h="5358912">
                <a:moveTo>
                  <a:pt x="256226" y="84"/>
                </a:moveTo>
                <a:cubicBezTo>
                  <a:pt x="307451" y="84"/>
                  <a:pt x="358772" y="833"/>
                  <a:pt x="409999" y="833"/>
                </a:cubicBezTo>
                <a:cubicBezTo>
                  <a:pt x="450733" y="833"/>
                  <a:pt x="491469" y="84"/>
                  <a:pt x="532204" y="84"/>
                </a:cubicBezTo>
                <a:cubicBezTo>
                  <a:pt x="570293" y="84"/>
                  <a:pt x="608381" y="1020"/>
                  <a:pt x="646470" y="1020"/>
                </a:cubicBezTo>
                <a:cubicBezTo>
                  <a:pt x="722649" y="927"/>
                  <a:pt x="798920" y="271"/>
                  <a:pt x="875098" y="84"/>
                </a:cubicBezTo>
                <a:cubicBezTo>
                  <a:pt x="945700" y="-104"/>
                  <a:pt x="1016206" y="84"/>
                  <a:pt x="1086808" y="84"/>
                </a:cubicBezTo>
                <a:cubicBezTo>
                  <a:pt x="1153534" y="84"/>
                  <a:pt x="1220355" y="-11"/>
                  <a:pt x="1287080" y="84"/>
                </a:cubicBezTo>
                <a:cubicBezTo>
                  <a:pt x="1357210" y="177"/>
                  <a:pt x="1427433" y="739"/>
                  <a:pt x="1497562" y="739"/>
                </a:cubicBezTo>
                <a:cubicBezTo>
                  <a:pt x="1560602" y="739"/>
                  <a:pt x="1623548" y="177"/>
                  <a:pt x="1686588" y="84"/>
                </a:cubicBezTo>
                <a:cubicBezTo>
                  <a:pt x="1757851" y="-11"/>
                  <a:pt x="1829208" y="84"/>
                  <a:pt x="1900472" y="84"/>
                </a:cubicBezTo>
                <a:cubicBezTo>
                  <a:pt x="1957463" y="84"/>
                  <a:pt x="2014455" y="177"/>
                  <a:pt x="2071446" y="177"/>
                </a:cubicBezTo>
                <a:cubicBezTo>
                  <a:pt x="2113693" y="177"/>
                  <a:pt x="2155941" y="-11"/>
                  <a:pt x="2198189" y="84"/>
                </a:cubicBezTo>
                <a:cubicBezTo>
                  <a:pt x="2317936" y="458"/>
                  <a:pt x="2419160" y="76997"/>
                  <a:pt x="2446853" y="189884"/>
                </a:cubicBezTo>
                <a:cubicBezTo>
                  <a:pt x="2452429" y="212461"/>
                  <a:pt x="2453847" y="236538"/>
                  <a:pt x="2453941" y="259959"/>
                </a:cubicBezTo>
                <a:cubicBezTo>
                  <a:pt x="2454319" y="630005"/>
                  <a:pt x="2454225" y="1000144"/>
                  <a:pt x="2454225" y="1370190"/>
                </a:cubicBezTo>
                <a:cubicBezTo>
                  <a:pt x="2454225" y="1806939"/>
                  <a:pt x="2454225" y="2243686"/>
                  <a:pt x="2454225" y="2680434"/>
                </a:cubicBezTo>
                <a:cubicBezTo>
                  <a:pt x="2454225" y="3489102"/>
                  <a:pt x="2454225" y="4297863"/>
                  <a:pt x="2454413" y="5106531"/>
                </a:cubicBezTo>
                <a:cubicBezTo>
                  <a:pt x="2454413" y="5177448"/>
                  <a:pt x="2429651" y="5237780"/>
                  <a:pt x="2379181" y="5287151"/>
                </a:cubicBezTo>
                <a:cubicBezTo>
                  <a:pt x="2328900" y="5336241"/>
                  <a:pt x="2267750" y="5359005"/>
                  <a:pt x="2196865" y="5358912"/>
                </a:cubicBezTo>
                <a:cubicBezTo>
                  <a:pt x="1803690" y="5358537"/>
                  <a:pt x="1410515" y="5358724"/>
                  <a:pt x="1017340" y="5358724"/>
                </a:cubicBezTo>
                <a:cubicBezTo>
                  <a:pt x="763100" y="5358724"/>
                  <a:pt x="508954" y="5358537"/>
                  <a:pt x="254714" y="5358912"/>
                </a:cubicBezTo>
                <a:cubicBezTo>
                  <a:pt x="199140" y="5358912"/>
                  <a:pt x="148481" y="5344203"/>
                  <a:pt x="104249" y="5311227"/>
                </a:cubicBezTo>
                <a:cubicBezTo>
                  <a:pt x="34781" y="5259421"/>
                  <a:pt x="0" y="5190189"/>
                  <a:pt x="95" y="5103345"/>
                </a:cubicBezTo>
                <a:cubicBezTo>
                  <a:pt x="473" y="4799534"/>
                  <a:pt x="284" y="4495814"/>
                  <a:pt x="284" y="4192002"/>
                </a:cubicBezTo>
                <a:cubicBezTo>
                  <a:pt x="284" y="2881758"/>
                  <a:pt x="378" y="1571514"/>
                  <a:pt x="0" y="261271"/>
                </a:cubicBezTo>
                <a:cubicBezTo>
                  <a:pt x="0" y="165808"/>
                  <a:pt x="37900" y="91798"/>
                  <a:pt x="117669" y="39149"/>
                </a:cubicBezTo>
                <a:cubicBezTo>
                  <a:pt x="159350" y="11606"/>
                  <a:pt x="206417" y="177"/>
                  <a:pt x="256226" y="84"/>
                </a:cubicBez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ctr">
              <a:defRPr/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541178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C68E667D-CFE0-A488-E675-27CFF1F3407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12192000 w 12192000"/>
              <a:gd name="connsiteY1" fmla="*/ 0 h 6858000"/>
              <a:gd name="connsiteX2" fmla="*/ 12192000 w 12192000"/>
              <a:gd name="connsiteY2" fmla="*/ 1901825 h 6858000"/>
              <a:gd name="connsiteX3" fmla="*/ 1924050 w 12192000"/>
              <a:gd name="connsiteY3" fmla="*/ 1901825 h 6858000"/>
              <a:gd name="connsiteX4" fmla="*/ 1924050 w 12192000"/>
              <a:gd name="connsiteY4" fmla="*/ 6858000 h 6858000"/>
              <a:gd name="connsiteX5" fmla="*/ 0 w 12192000"/>
              <a:gd name="connsiteY5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1901825"/>
                </a:lnTo>
                <a:lnTo>
                  <a:pt x="1924050" y="1901825"/>
                </a:lnTo>
                <a:lnTo>
                  <a:pt x="1924050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50000"/>
            </a:schemeClr>
          </a:solidFill>
        </p:spPr>
        <p:txBody>
          <a:bodyPr wrap="square" anchor="ctr">
            <a:noAutofit/>
          </a:bodyPr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0DCC1F04-2D61-5744-2A72-F3F09FDDE44A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0" y="12706"/>
            <a:ext cx="12192000" cy="6845294"/>
          </a:xfrm>
          <a:custGeom>
            <a:avLst/>
            <a:gdLst>
              <a:gd name="connsiteX0" fmla="*/ 0 w 12192000"/>
              <a:gd name="connsiteY0" fmla="*/ 0 h 6845294"/>
              <a:gd name="connsiteX1" fmla="*/ 12192000 w 12192000"/>
              <a:gd name="connsiteY1" fmla="*/ 0 h 6845294"/>
              <a:gd name="connsiteX2" fmla="*/ 12192000 w 12192000"/>
              <a:gd name="connsiteY2" fmla="*/ 1895472 h 6845294"/>
              <a:gd name="connsiteX3" fmla="*/ 1924050 w 12192000"/>
              <a:gd name="connsiteY3" fmla="*/ 1895472 h 6845294"/>
              <a:gd name="connsiteX4" fmla="*/ 1924050 w 12192000"/>
              <a:gd name="connsiteY4" fmla="*/ 6845294 h 6845294"/>
              <a:gd name="connsiteX5" fmla="*/ 0 w 12192000"/>
              <a:gd name="connsiteY5" fmla="*/ 6845294 h 6845294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2192000" h="6845294">
                <a:moveTo>
                  <a:pt x="0" y="0"/>
                </a:moveTo>
                <a:lnTo>
                  <a:pt x="12192000" y="0"/>
                </a:lnTo>
                <a:lnTo>
                  <a:pt x="12192000" y="1895472"/>
                </a:lnTo>
                <a:lnTo>
                  <a:pt x="1924050" y="1895472"/>
                </a:lnTo>
                <a:lnTo>
                  <a:pt x="1924050" y="6845294"/>
                </a:lnTo>
                <a:lnTo>
                  <a:pt x="0" y="6845294"/>
                </a:lnTo>
                <a:close/>
              </a:path>
            </a:pathLst>
          </a:custGeom>
          <a:blipFill>
            <a:blip r:embed="rId2">
              <a:alphaModFix amt="50000"/>
            </a:blip>
            <a:stretch>
              <a:fillRect l="-19822" r="19822" b="-186"/>
            </a:stretch>
          </a:blipFill>
        </p:spPr>
        <p:txBody>
          <a:bodyPr wrap="square" anchor="ctr">
            <a:noAutofit/>
          </a:bodyPr>
          <a:lstStyle>
            <a:lvl1pPr algn="ctr">
              <a:defRPr sz="100"/>
            </a:lvl1pPr>
          </a:lstStyle>
          <a:p>
            <a:pPr lvl="0"/>
            <a:r>
              <a:rPr lang="en-US"/>
              <a:t> 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2719346" y="2409290"/>
            <a:ext cx="8835582" cy="3759735"/>
          </a:xfrm>
        </p:spPr>
        <p:txBody>
          <a:bodyPr numCol="1" spcCol="360000"/>
          <a:lstStyle>
            <a:lvl1pPr>
              <a:lnSpc>
                <a:spcPct val="90000"/>
              </a:lnSpc>
              <a:defRPr sz="5400"/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3EE571A3-652C-2AF1-3341-D2EC2BED1EDB}"/>
              </a:ext>
            </a:extLst>
          </p:cNvPr>
          <p:cNvSpPr/>
          <p:nvPr/>
        </p:nvSpPr>
        <p:spPr>
          <a:xfrm rot="5400000">
            <a:off x="-414034" y="4232375"/>
            <a:ext cx="4957639" cy="293616"/>
          </a:xfrm>
          <a:prstGeom prst="rect">
            <a:avLst/>
          </a:prstGeom>
          <a:gradFill>
            <a:gsLst>
              <a:gs pos="0">
                <a:schemeClr val="tx2"/>
              </a:gs>
              <a:gs pos="99000">
                <a:schemeClr val="accent1"/>
              </a:gs>
            </a:gsLst>
            <a:lin ang="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>
              <a:lnSpc>
                <a:spcPct val="110000"/>
              </a:lnSpc>
              <a:spcAft>
                <a:spcPts val="600"/>
              </a:spcAft>
            </a:pPr>
            <a:endParaRPr lang="en-US" sz="1600">
              <a:solidFill>
                <a:schemeClr val="tx1"/>
              </a:solidFill>
            </a:endParaRP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0510002-FF6D-611C-821B-E6B76AD00842}"/>
              </a:ext>
            </a:extLst>
          </p:cNvPr>
          <p:cNvPicPr>
            <a:picLocks noChangeAspect="1"/>
          </p:cNvPicPr>
          <p:nvPr/>
        </p:nvPicPr>
        <p:blipFill>
          <a:blip r:embed="rId3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4247771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2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-600" y="0"/>
            <a:ext cx="12193200" cy="68580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0" y="0"/>
            <a:ext cx="12193200" cy="68580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20C9716D-26D7-9DDA-1A26-3C44D65B59AD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27245501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tatement extra #3">
    <p:bg>
      <p:bgPr>
        <a:solidFill>
          <a:srgbClr val="EDE9E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5">
            <a:extLst>
              <a:ext uri="{FF2B5EF4-FFF2-40B4-BE49-F238E27FC236}">
                <a16:creationId xmlns:a16="http://schemas.microsoft.com/office/drawing/2014/main" id="{1C6C7D01-5EDD-FF13-27FE-0217648BED0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42000" y="680400"/>
            <a:ext cx="10908000" cy="5497200"/>
          </a:xfrm>
          <a:solidFill>
            <a:schemeClr val="bg1">
              <a:lumMod val="50000"/>
            </a:schemeClr>
          </a:solidFill>
        </p:spPr>
        <p:txBody>
          <a:bodyPr anchor="t"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s-ES"/>
              <a:t>Haga clic en el icono para agregar una imagen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56DE5283-3D12-48AD-7063-373956EF765C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641350" y="680400"/>
            <a:ext cx="10909300" cy="5497200"/>
          </a:xfrm>
          <a:solidFill>
            <a:schemeClr val="tx1">
              <a:alpha val="60000"/>
            </a:schemeClr>
          </a:solidFill>
        </p:spPr>
        <p:txBody>
          <a:bodyPr lIns="1980000" tIns="900000" rIns="1980000" bIns="900000" numCol="1" spcCol="360000" anchor="ctr"/>
          <a:lstStyle>
            <a:lvl1pPr algn="ctr">
              <a:lnSpc>
                <a:spcPct val="90000"/>
              </a:lnSpc>
              <a:defRPr sz="5400">
                <a:solidFill>
                  <a:schemeClr val="bg1"/>
                </a:solidFill>
              </a:defRPr>
            </a:lvl1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0DC4967A-CFD4-A89C-88F5-6E0BBB0763B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BFED802-41D5-D7CC-0CA7-B46C2AF3650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sp>
        <p:nvSpPr>
          <p:cNvPr id="6" name="Rounded Rectangle 5">
            <a:extLst>
              <a:ext uri="{FF2B5EF4-FFF2-40B4-BE49-F238E27FC236}">
                <a16:creationId xmlns:a16="http://schemas.microsoft.com/office/drawing/2014/main" id="{F9A0C17C-CD5C-B2B2-48E3-7FC8FE1DE12E}"/>
              </a:ext>
            </a:extLst>
          </p:cNvPr>
          <p:cNvSpPr/>
          <p:nvPr/>
        </p:nvSpPr>
        <p:spPr>
          <a:xfrm>
            <a:off x="3576440" y="-345558"/>
            <a:ext cx="5039120" cy="228600"/>
          </a:xfrm>
          <a:prstGeom prst="roundRect">
            <a:avLst>
              <a:gd name="adj" fmla="val 50000"/>
            </a:avLst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r>
              <a:rPr lang="en-GB" sz="900" b="1">
                <a:solidFill>
                  <a:schemeClr val="tx1"/>
                </a:solidFill>
              </a:rPr>
              <a:t>Adjustable background colour. </a:t>
            </a:r>
            <a:r>
              <a:rPr lang="en-GB" sz="900" b="0">
                <a:solidFill>
                  <a:schemeClr val="tx1"/>
                </a:solidFill>
              </a:rPr>
              <a:t>Go to ‘Design’ &gt; ‘Format Background’ &gt; choose colour 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F035709-5550-2B8F-547D-4495C50287D1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57052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gi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28.xml"/><Relationship Id="rId13" Type="http://schemas.openxmlformats.org/officeDocument/2006/relationships/slideLayout" Target="../slideLayouts/slideLayout333.xml"/><Relationship Id="rId18" Type="http://schemas.openxmlformats.org/officeDocument/2006/relationships/slideLayout" Target="../slideLayouts/slideLayout338.xml"/><Relationship Id="rId3" Type="http://schemas.openxmlformats.org/officeDocument/2006/relationships/slideLayout" Target="../slideLayouts/slideLayout323.xml"/><Relationship Id="rId21" Type="http://schemas.openxmlformats.org/officeDocument/2006/relationships/image" Target="../media/image22.svg"/><Relationship Id="rId7" Type="http://schemas.openxmlformats.org/officeDocument/2006/relationships/slideLayout" Target="../slideLayouts/slideLayout327.xml"/><Relationship Id="rId12" Type="http://schemas.openxmlformats.org/officeDocument/2006/relationships/slideLayout" Target="../slideLayouts/slideLayout332.xml"/><Relationship Id="rId17" Type="http://schemas.openxmlformats.org/officeDocument/2006/relationships/slideLayout" Target="../slideLayouts/slideLayout337.xml"/><Relationship Id="rId2" Type="http://schemas.openxmlformats.org/officeDocument/2006/relationships/slideLayout" Target="../slideLayouts/slideLayout322.xml"/><Relationship Id="rId16" Type="http://schemas.openxmlformats.org/officeDocument/2006/relationships/slideLayout" Target="../slideLayouts/slideLayout336.xml"/><Relationship Id="rId20" Type="http://schemas.openxmlformats.org/officeDocument/2006/relationships/image" Target="../media/image21.png"/><Relationship Id="rId1" Type="http://schemas.openxmlformats.org/officeDocument/2006/relationships/slideLayout" Target="../slideLayouts/slideLayout321.xml"/><Relationship Id="rId6" Type="http://schemas.openxmlformats.org/officeDocument/2006/relationships/slideLayout" Target="../slideLayouts/slideLayout326.xml"/><Relationship Id="rId11" Type="http://schemas.openxmlformats.org/officeDocument/2006/relationships/slideLayout" Target="../slideLayouts/slideLayout331.xml"/><Relationship Id="rId5" Type="http://schemas.openxmlformats.org/officeDocument/2006/relationships/slideLayout" Target="../slideLayouts/slideLayout325.xml"/><Relationship Id="rId15" Type="http://schemas.openxmlformats.org/officeDocument/2006/relationships/slideLayout" Target="../slideLayouts/slideLayout335.xml"/><Relationship Id="rId10" Type="http://schemas.openxmlformats.org/officeDocument/2006/relationships/slideLayout" Target="../slideLayouts/slideLayout330.xml"/><Relationship Id="rId19" Type="http://schemas.openxmlformats.org/officeDocument/2006/relationships/theme" Target="../theme/theme10.xml"/><Relationship Id="rId4" Type="http://schemas.openxmlformats.org/officeDocument/2006/relationships/slideLayout" Target="../slideLayouts/slideLayout324.xml"/><Relationship Id="rId9" Type="http://schemas.openxmlformats.org/officeDocument/2006/relationships/slideLayout" Target="../slideLayouts/slideLayout329.xml"/><Relationship Id="rId14" Type="http://schemas.openxmlformats.org/officeDocument/2006/relationships/slideLayout" Target="../slideLayouts/slideLayout334.xml"/></Relationships>
</file>

<file path=ppt/slideMasters/_rels/slideMaster1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51.xml"/><Relationship Id="rId18" Type="http://schemas.openxmlformats.org/officeDocument/2006/relationships/slideLayout" Target="../slideLayouts/slideLayout356.xml"/><Relationship Id="rId26" Type="http://schemas.openxmlformats.org/officeDocument/2006/relationships/slideLayout" Target="../slideLayouts/slideLayout364.xml"/><Relationship Id="rId39" Type="http://schemas.openxmlformats.org/officeDocument/2006/relationships/slideLayout" Target="../slideLayouts/slideLayout377.xml"/><Relationship Id="rId21" Type="http://schemas.openxmlformats.org/officeDocument/2006/relationships/slideLayout" Target="../slideLayouts/slideLayout359.xml"/><Relationship Id="rId34" Type="http://schemas.openxmlformats.org/officeDocument/2006/relationships/slideLayout" Target="../slideLayouts/slideLayout372.xml"/><Relationship Id="rId7" Type="http://schemas.openxmlformats.org/officeDocument/2006/relationships/slideLayout" Target="../slideLayouts/slideLayout345.xml"/><Relationship Id="rId2" Type="http://schemas.openxmlformats.org/officeDocument/2006/relationships/slideLayout" Target="../slideLayouts/slideLayout340.xml"/><Relationship Id="rId16" Type="http://schemas.openxmlformats.org/officeDocument/2006/relationships/slideLayout" Target="../slideLayouts/slideLayout354.xml"/><Relationship Id="rId20" Type="http://schemas.openxmlformats.org/officeDocument/2006/relationships/slideLayout" Target="../slideLayouts/slideLayout358.xml"/><Relationship Id="rId29" Type="http://schemas.openxmlformats.org/officeDocument/2006/relationships/slideLayout" Target="../slideLayouts/slideLayout367.xml"/><Relationship Id="rId41" Type="http://schemas.openxmlformats.org/officeDocument/2006/relationships/image" Target="../media/image1.gif"/><Relationship Id="rId1" Type="http://schemas.openxmlformats.org/officeDocument/2006/relationships/slideLayout" Target="../slideLayouts/slideLayout339.xml"/><Relationship Id="rId6" Type="http://schemas.openxmlformats.org/officeDocument/2006/relationships/slideLayout" Target="../slideLayouts/slideLayout344.xml"/><Relationship Id="rId11" Type="http://schemas.openxmlformats.org/officeDocument/2006/relationships/slideLayout" Target="../slideLayouts/slideLayout349.xml"/><Relationship Id="rId24" Type="http://schemas.openxmlformats.org/officeDocument/2006/relationships/slideLayout" Target="../slideLayouts/slideLayout362.xml"/><Relationship Id="rId32" Type="http://schemas.openxmlformats.org/officeDocument/2006/relationships/slideLayout" Target="../slideLayouts/slideLayout370.xml"/><Relationship Id="rId37" Type="http://schemas.openxmlformats.org/officeDocument/2006/relationships/slideLayout" Target="../slideLayouts/slideLayout375.xml"/><Relationship Id="rId40" Type="http://schemas.openxmlformats.org/officeDocument/2006/relationships/theme" Target="../theme/theme11.xml"/><Relationship Id="rId5" Type="http://schemas.openxmlformats.org/officeDocument/2006/relationships/slideLayout" Target="../slideLayouts/slideLayout343.xml"/><Relationship Id="rId15" Type="http://schemas.openxmlformats.org/officeDocument/2006/relationships/slideLayout" Target="../slideLayouts/slideLayout353.xml"/><Relationship Id="rId23" Type="http://schemas.openxmlformats.org/officeDocument/2006/relationships/slideLayout" Target="../slideLayouts/slideLayout361.xml"/><Relationship Id="rId28" Type="http://schemas.openxmlformats.org/officeDocument/2006/relationships/slideLayout" Target="../slideLayouts/slideLayout366.xml"/><Relationship Id="rId36" Type="http://schemas.openxmlformats.org/officeDocument/2006/relationships/slideLayout" Target="../slideLayouts/slideLayout374.xml"/><Relationship Id="rId10" Type="http://schemas.openxmlformats.org/officeDocument/2006/relationships/slideLayout" Target="../slideLayouts/slideLayout348.xml"/><Relationship Id="rId19" Type="http://schemas.openxmlformats.org/officeDocument/2006/relationships/slideLayout" Target="../slideLayouts/slideLayout357.xml"/><Relationship Id="rId31" Type="http://schemas.openxmlformats.org/officeDocument/2006/relationships/slideLayout" Target="../slideLayouts/slideLayout369.xml"/><Relationship Id="rId4" Type="http://schemas.openxmlformats.org/officeDocument/2006/relationships/slideLayout" Target="../slideLayouts/slideLayout342.xml"/><Relationship Id="rId9" Type="http://schemas.openxmlformats.org/officeDocument/2006/relationships/slideLayout" Target="../slideLayouts/slideLayout347.xml"/><Relationship Id="rId14" Type="http://schemas.openxmlformats.org/officeDocument/2006/relationships/slideLayout" Target="../slideLayouts/slideLayout352.xml"/><Relationship Id="rId22" Type="http://schemas.openxmlformats.org/officeDocument/2006/relationships/slideLayout" Target="../slideLayouts/slideLayout360.xml"/><Relationship Id="rId27" Type="http://schemas.openxmlformats.org/officeDocument/2006/relationships/slideLayout" Target="../slideLayouts/slideLayout365.xml"/><Relationship Id="rId30" Type="http://schemas.openxmlformats.org/officeDocument/2006/relationships/slideLayout" Target="../slideLayouts/slideLayout368.xml"/><Relationship Id="rId35" Type="http://schemas.openxmlformats.org/officeDocument/2006/relationships/slideLayout" Target="../slideLayouts/slideLayout373.xml"/><Relationship Id="rId8" Type="http://schemas.openxmlformats.org/officeDocument/2006/relationships/slideLayout" Target="../slideLayouts/slideLayout346.xml"/><Relationship Id="rId3" Type="http://schemas.openxmlformats.org/officeDocument/2006/relationships/slideLayout" Target="../slideLayouts/slideLayout341.xml"/><Relationship Id="rId12" Type="http://schemas.openxmlformats.org/officeDocument/2006/relationships/slideLayout" Target="../slideLayouts/slideLayout350.xml"/><Relationship Id="rId17" Type="http://schemas.openxmlformats.org/officeDocument/2006/relationships/slideLayout" Target="../slideLayouts/slideLayout355.xml"/><Relationship Id="rId25" Type="http://schemas.openxmlformats.org/officeDocument/2006/relationships/slideLayout" Target="../slideLayouts/slideLayout363.xml"/><Relationship Id="rId33" Type="http://schemas.openxmlformats.org/officeDocument/2006/relationships/slideLayout" Target="../slideLayouts/slideLayout371.xml"/><Relationship Id="rId38" Type="http://schemas.openxmlformats.org/officeDocument/2006/relationships/slideLayout" Target="../slideLayouts/slideLayout376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5.xml"/><Relationship Id="rId13" Type="http://schemas.openxmlformats.org/officeDocument/2006/relationships/slideLayout" Target="../slideLayouts/slideLayout30.xml"/><Relationship Id="rId18" Type="http://schemas.openxmlformats.org/officeDocument/2006/relationships/image" Target="../media/image1.gif"/><Relationship Id="rId3" Type="http://schemas.openxmlformats.org/officeDocument/2006/relationships/slideLayout" Target="../slideLayouts/slideLayout20.xml"/><Relationship Id="rId7" Type="http://schemas.openxmlformats.org/officeDocument/2006/relationships/slideLayout" Target="../slideLayouts/slideLayout24.xml"/><Relationship Id="rId12" Type="http://schemas.openxmlformats.org/officeDocument/2006/relationships/slideLayout" Target="../slideLayouts/slideLayout29.xml"/><Relationship Id="rId17" Type="http://schemas.openxmlformats.org/officeDocument/2006/relationships/theme" Target="../theme/theme2.xml"/><Relationship Id="rId2" Type="http://schemas.openxmlformats.org/officeDocument/2006/relationships/slideLayout" Target="../slideLayouts/slideLayout19.xml"/><Relationship Id="rId16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8.xml"/><Relationship Id="rId6" Type="http://schemas.openxmlformats.org/officeDocument/2006/relationships/slideLayout" Target="../slideLayouts/slideLayout23.xml"/><Relationship Id="rId11" Type="http://schemas.openxmlformats.org/officeDocument/2006/relationships/slideLayout" Target="../slideLayouts/slideLayout28.xml"/><Relationship Id="rId5" Type="http://schemas.openxmlformats.org/officeDocument/2006/relationships/slideLayout" Target="../slideLayouts/slideLayout22.xml"/><Relationship Id="rId15" Type="http://schemas.openxmlformats.org/officeDocument/2006/relationships/slideLayout" Target="../slideLayouts/slideLayout32.xml"/><Relationship Id="rId10" Type="http://schemas.openxmlformats.org/officeDocument/2006/relationships/slideLayout" Target="../slideLayouts/slideLayout27.xml"/><Relationship Id="rId4" Type="http://schemas.openxmlformats.org/officeDocument/2006/relationships/slideLayout" Target="../slideLayouts/slideLayout21.xml"/><Relationship Id="rId9" Type="http://schemas.openxmlformats.org/officeDocument/2006/relationships/slideLayout" Target="../slideLayouts/slideLayout26.xml"/><Relationship Id="rId14" Type="http://schemas.openxmlformats.org/officeDocument/2006/relationships/slideLayout" Target="../slideLayouts/slideLayout3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slideLayout" Target="../slideLayouts/slideLayout46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slideLayout" Target="../slideLayouts/slideLayout45.xml"/><Relationship Id="rId2" Type="http://schemas.openxmlformats.org/officeDocument/2006/relationships/slideLayout" Target="../slideLayouts/slideLayout35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5" Type="http://schemas.openxmlformats.org/officeDocument/2006/relationships/theme" Target="../theme/theme3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slideLayout" Target="../slideLayouts/slideLayout47.xml"/></Relationships>
</file>

<file path=ppt/slideMasters/_rels/slideMaster4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73.xml"/><Relationship Id="rId21" Type="http://schemas.openxmlformats.org/officeDocument/2006/relationships/slideLayout" Target="../slideLayouts/slideLayout68.xml"/><Relationship Id="rId34" Type="http://schemas.openxmlformats.org/officeDocument/2006/relationships/slideLayout" Target="../slideLayouts/slideLayout81.xml"/><Relationship Id="rId42" Type="http://schemas.openxmlformats.org/officeDocument/2006/relationships/slideLayout" Target="../slideLayouts/slideLayout89.xml"/><Relationship Id="rId47" Type="http://schemas.openxmlformats.org/officeDocument/2006/relationships/slideLayout" Target="../slideLayouts/slideLayout94.xml"/><Relationship Id="rId50" Type="http://schemas.openxmlformats.org/officeDocument/2006/relationships/slideLayout" Target="../slideLayouts/slideLayout97.xml"/><Relationship Id="rId55" Type="http://schemas.openxmlformats.org/officeDocument/2006/relationships/slideLayout" Target="../slideLayouts/slideLayout102.xml"/><Relationship Id="rId63" Type="http://schemas.openxmlformats.org/officeDocument/2006/relationships/slideLayout" Target="../slideLayouts/slideLayout110.xml"/><Relationship Id="rId7" Type="http://schemas.openxmlformats.org/officeDocument/2006/relationships/slideLayout" Target="../slideLayouts/slideLayout54.xml"/><Relationship Id="rId2" Type="http://schemas.openxmlformats.org/officeDocument/2006/relationships/slideLayout" Target="../slideLayouts/slideLayout49.xml"/><Relationship Id="rId16" Type="http://schemas.openxmlformats.org/officeDocument/2006/relationships/slideLayout" Target="../slideLayouts/slideLayout63.xml"/><Relationship Id="rId29" Type="http://schemas.openxmlformats.org/officeDocument/2006/relationships/slideLayout" Target="../slideLayouts/slideLayout76.xml"/><Relationship Id="rId11" Type="http://schemas.openxmlformats.org/officeDocument/2006/relationships/slideLayout" Target="../slideLayouts/slideLayout58.xml"/><Relationship Id="rId24" Type="http://schemas.openxmlformats.org/officeDocument/2006/relationships/slideLayout" Target="../slideLayouts/slideLayout71.xml"/><Relationship Id="rId32" Type="http://schemas.openxmlformats.org/officeDocument/2006/relationships/slideLayout" Target="../slideLayouts/slideLayout79.xml"/><Relationship Id="rId37" Type="http://schemas.openxmlformats.org/officeDocument/2006/relationships/slideLayout" Target="../slideLayouts/slideLayout84.xml"/><Relationship Id="rId40" Type="http://schemas.openxmlformats.org/officeDocument/2006/relationships/slideLayout" Target="../slideLayouts/slideLayout87.xml"/><Relationship Id="rId45" Type="http://schemas.openxmlformats.org/officeDocument/2006/relationships/slideLayout" Target="../slideLayouts/slideLayout92.xml"/><Relationship Id="rId53" Type="http://schemas.openxmlformats.org/officeDocument/2006/relationships/slideLayout" Target="../slideLayouts/slideLayout100.xml"/><Relationship Id="rId58" Type="http://schemas.openxmlformats.org/officeDocument/2006/relationships/slideLayout" Target="../slideLayouts/slideLayout105.xml"/><Relationship Id="rId5" Type="http://schemas.openxmlformats.org/officeDocument/2006/relationships/slideLayout" Target="../slideLayouts/slideLayout52.xml"/><Relationship Id="rId61" Type="http://schemas.openxmlformats.org/officeDocument/2006/relationships/slideLayout" Target="../slideLayouts/slideLayout108.xml"/><Relationship Id="rId1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61.xml"/><Relationship Id="rId22" Type="http://schemas.openxmlformats.org/officeDocument/2006/relationships/slideLayout" Target="../slideLayouts/slideLayout69.xml"/><Relationship Id="rId27" Type="http://schemas.openxmlformats.org/officeDocument/2006/relationships/slideLayout" Target="../slideLayouts/slideLayout74.xml"/><Relationship Id="rId30" Type="http://schemas.openxmlformats.org/officeDocument/2006/relationships/slideLayout" Target="../slideLayouts/slideLayout77.xml"/><Relationship Id="rId35" Type="http://schemas.openxmlformats.org/officeDocument/2006/relationships/slideLayout" Target="../slideLayouts/slideLayout82.xml"/><Relationship Id="rId43" Type="http://schemas.openxmlformats.org/officeDocument/2006/relationships/slideLayout" Target="../slideLayouts/slideLayout90.xml"/><Relationship Id="rId48" Type="http://schemas.openxmlformats.org/officeDocument/2006/relationships/slideLayout" Target="../slideLayouts/slideLayout95.xml"/><Relationship Id="rId56" Type="http://schemas.openxmlformats.org/officeDocument/2006/relationships/slideLayout" Target="../slideLayouts/slideLayout103.xml"/><Relationship Id="rId64" Type="http://schemas.openxmlformats.org/officeDocument/2006/relationships/theme" Target="../theme/theme4.xml"/><Relationship Id="rId8" Type="http://schemas.openxmlformats.org/officeDocument/2006/relationships/slideLayout" Target="../slideLayouts/slideLayout55.xml"/><Relationship Id="rId51" Type="http://schemas.openxmlformats.org/officeDocument/2006/relationships/slideLayout" Target="../slideLayouts/slideLayout98.xml"/><Relationship Id="rId3" Type="http://schemas.openxmlformats.org/officeDocument/2006/relationships/slideLayout" Target="../slideLayouts/slideLayout50.xml"/><Relationship Id="rId12" Type="http://schemas.openxmlformats.org/officeDocument/2006/relationships/slideLayout" Target="../slideLayouts/slideLayout59.xml"/><Relationship Id="rId17" Type="http://schemas.openxmlformats.org/officeDocument/2006/relationships/slideLayout" Target="../slideLayouts/slideLayout64.xml"/><Relationship Id="rId25" Type="http://schemas.openxmlformats.org/officeDocument/2006/relationships/slideLayout" Target="../slideLayouts/slideLayout72.xml"/><Relationship Id="rId33" Type="http://schemas.openxmlformats.org/officeDocument/2006/relationships/slideLayout" Target="../slideLayouts/slideLayout80.xml"/><Relationship Id="rId38" Type="http://schemas.openxmlformats.org/officeDocument/2006/relationships/slideLayout" Target="../slideLayouts/slideLayout85.xml"/><Relationship Id="rId46" Type="http://schemas.openxmlformats.org/officeDocument/2006/relationships/slideLayout" Target="../slideLayouts/slideLayout93.xml"/><Relationship Id="rId59" Type="http://schemas.openxmlformats.org/officeDocument/2006/relationships/slideLayout" Target="../slideLayouts/slideLayout106.xml"/><Relationship Id="rId20" Type="http://schemas.openxmlformats.org/officeDocument/2006/relationships/slideLayout" Target="../slideLayouts/slideLayout67.xml"/><Relationship Id="rId41" Type="http://schemas.openxmlformats.org/officeDocument/2006/relationships/slideLayout" Target="../slideLayouts/slideLayout88.xml"/><Relationship Id="rId54" Type="http://schemas.openxmlformats.org/officeDocument/2006/relationships/slideLayout" Target="../slideLayouts/slideLayout101.xml"/><Relationship Id="rId62" Type="http://schemas.openxmlformats.org/officeDocument/2006/relationships/slideLayout" Target="../slideLayouts/slideLayout109.xml"/><Relationship Id="rId1" Type="http://schemas.openxmlformats.org/officeDocument/2006/relationships/slideLayout" Target="../slideLayouts/slideLayout48.xml"/><Relationship Id="rId6" Type="http://schemas.openxmlformats.org/officeDocument/2006/relationships/slideLayout" Target="../slideLayouts/slideLayout53.xml"/><Relationship Id="rId15" Type="http://schemas.openxmlformats.org/officeDocument/2006/relationships/slideLayout" Target="../slideLayouts/slideLayout62.xml"/><Relationship Id="rId23" Type="http://schemas.openxmlformats.org/officeDocument/2006/relationships/slideLayout" Target="../slideLayouts/slideLayout70.xml"/><Relationship Id="rId28" Type="http://schemas.openxmlformats.org/officeDocument/2006/relationships/slideLayout" Target="../slideLayouts/slideLayout75.xml"/><Relationship Id="rId36" Type="http://schemas.openxmlformats.org/officeDocument/2006/relationships/slideLayout" Target="../slideLayouts/slideLayout83.xml"/><Relationship Id="rId49" Type="http://schemas.openxmlformats.org/officeDocument/2006/relationships/slideLayout" Target="../slideLayouts/slideLayout96.xml"/><Relationship Id="rId57" Type="http://schemas.openxmlformats.org/officeDocument/2006/relationships/slideLayout" Target="../slideLayouts/slideLayout104.xml"/><Relationship Id="rId10" Type="http://schemas.openxmlformats.org/officeDocument/2006/relationships/slideLayout" Target="../slideLayouts/slideLayout57.xml"/><Relationship Id="rId31" Type="http://schemas.openxmlformats.org/officeDocument/2006/relationships/slideLayout" Target="../slideLayouts/slideLayout78.xml"/><Relationship Id="rId44" Type="http://schemas.openxmlformats.org/officeDocument/2006/relationships/slideLayout" Target="../slideLayouts/slideLayout91.xml"/><Relationship Id="rId52" Type="http://schemas.openxmlformats.org/officeDocument/2006/relationships/slideLayout" Target="../slideLayouts/slideLayout99.xml"/><Relationship Id="rId60" Type="http://schemas.openxmlformats.org/officeDocument/2006/relationships/slideLayout" Target="../slideLayouts/slideLayout107.xml"/><Relationship Id="rId65" Type="http://schemas.openxmlformats.org/officeDocument/2006/relationships/image" Target="../media/image6.gif"/><Relationship Id="rId4" Type="http://schemas.openxmlformats.org/officeDocument/2006/relationships/slideLayout" Target="../slideLayouts/slideLayout51.xml"/><Relationship Id="rId9" Type="http://schemas.openxmlformats.org/officeDocument/2006/relationships/slideLayout" Target="../slideLayouts/slideLayout56.xml"/><Relationship Id="rId13" Type="http://schemas.openxmlformats.org/officeDocument/2006/relationships/slideLayout" Target="../slideLayouts/slideLayout60.xml"/><Relationship Id="rId18" Type="http://schemas.openxmlformats.org/officeDocument/2006/relationships/slideLayout" Target="../slideLayouts/slideLayout65.xml"/><Relationship Id="rId39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23.xml"/><Relationship Id="rId18" Type="http://schemas.openxmlformats.org/officeDocument/2006/relationships/slideLayout" Target="../slideLayouts/slideLayout128.xml"/><Relationship Id="rId26" Type="http://schemas.openxmlformats.org/officeDocument/2006/relationships/slideLayout" Target="../slideLayouts/slideLayout136.xml"/><Relationship Id="rId39" Type="http://schemas.openxmlformats.org/officeDocument/2006/relationships/slideLayout" Target="../slideLayouts/slideLayout149.xml"/><Relationship Id="rId21" Type="http://schemas.openxmlformats.org/officeDocument/2006/relationships/slideLayout" Target="../slideLayouts/slideLayout131.xml"/><Relationship Id="rId34" Type="http://schemas.openxmlformats.org/officeDocument/2006/relationships/slideLayout" Target="../slideLayouts/slideLayout144.xml"/><Relationship Id="rId42" Type="http://schemas.openxmlformats.org/officeDocument/2006/relationships/slideLayout" Target="../slideLayouts/slideLayout152.xml"/><Relationship Id="rId47" Type="http://schemas.openxmlformats.org/officeDocument/2006/relationships/slideLayout" Target="../slideLayouts/slideLayout157.xml"/><Relationship Id="rId50" Type="http://schemas.openxmlformats.org/officeDocument/2006/relationships/slideLayout" Target="../slideLayouts/slideLayout160.xml"/><Relationship Id="rId55" Type="http://schemas.openxmlformats.org/officeDocument/2006/relationships/slideLayout" Target="../slideLayouts/slideLayout165.xml"/><Relationship Id="rId7" Type="http://schemas.openxmlformats.org/officeDocument/2006/relationships/slideLayout" Target="../slideLayouts/slideLayout117.xml"/><Relationship Id="rId2" Type="http://schemas.openxmlformats.org/officeDocument/2006/relationships/slideLayout" Target="../slideLayouts/slideLayout112.xml"/><Relationship Id="rId16" Type="http://schemas.openxmlformats.org/officeDocument/2006/relationships/slideLayout" Target="../slideLayouts/slideLayout126.xml"/><Relationship Id="rId29" Type="http://schemas.openxmlformats.org/officeDocument/2006/relationships/slideLayout" Target="../slideLayouts/slideLayout139.xml"/><Relationship Id="rId11" Type="http://schemas.openxmlformats.org/officeDocument/2006/relationships/slideLayout" Target="../slideLayouts/slideLayout121.xml"/><Relationship Id="rId24" Type="http://schemas.openxmlformats.org/officeDocument/2006/relationships/slideLayout" Target="../slideLayouts/slideLayout134.xml"/><Relationship Id="rId32" Type="http://schemas.openxmlformats.org/officeDocument/2006/relationships/slideLayout" Target="../slideLayouts/slideLayout142.xml"/><Relationship Id="rId37" Type="http://schemas.openxmlformats.org/officeDocument/2006/relationships/slideLayout" Target="../slideLayouts/slideLayout147.xml"/><Relationship Id="rId40" Type="http://schemas.openxmlformats.org/officeDocument/2006/relationships/slideLayout" Target="../slideLayouts/slideLayout150.xml"/><Relationship Id="rId45" Type="http://schemas.openxmlformats.org/officeDocument/2006/relationships/slideLayout" Target="../slideLayouts/slideLayout155.xml"/><Relationship Id="rId53" Type="http://schemas.openxmlformats.org/officeDocument/2006/relationships/slideLayout" Target="../slideLayouts/slideLayout163.xml"/><Relationship Id="rId58" Type="http://schemas.openxmlformats.org/officeDocument/2006/relationships/theme" Target="../theme/theme5.xml"/><Relationship Id="rId5" Type="http://schemas.openxmlformats.org/officeDocument/2006/relationships/slideLayout" Target="../slideLayouts/slideLayout115.xml"/><Relationship Id="rId19" Type="http://schemas.openxmlformats.org/officeDocument/2006/relationships/slideLayout" Target="../slideLayouts/slideLayout129.xml"/><Relationship Id="rId4" Type="http://schemas.openxmlformats.org/officeDocument/2006/relationships/slideLayout" Target="../slideLayouts/slideLayout114.xml"/><Relationship Id="rId9" Type="http://schemas.openxmlformats.org/officeDocument/2006/relationships/slideLayout" Target="../slideLayouts/slideLayout119.xml"/><Relationship Id="rId14" Type="http://schemas.openxmlformats.org/officeDocument/2006/relationships/slideLayout" Target="../slideLayouts/slideLayout124.xml"/><Relationship Id="rId22" Type="http://schemas.openxmlformats.org/officeDocument/2006/relationships/slideLayout" Target="../slideLayouts/slideLayout132.xml"/><Relationship Id="rId27" Type="http://schemas.openxmlformats.org/officeDocument/2006/relationships/slideLayout" Target="../slideLayouts/slideLayout137.xml"/><Relationship Id="rId30" Type="http://schemas.openxmlformats.org/officeDocument/2006/relationships/slideLayout" Target="../slideLayouts/slideLayout140.xml"/><Relationship Id="rId35" Type="http://schemas.openxmlformats.org/officeDocument/2006/relationships/slideLayout" Target="../slideLayouts/slideLayout145.xml"/><Relationship Id="rId43" Type="http://schemas.openxmlformats.org/officeDocument/2006/relationships/slideLayout" Target="../slideLayouts/slideLayout153.xml"/><Relationship Id="rId48" Type="http://schemas.openxmlformats.org/officeDocument/2006/relationships/slideLayout" Target="../slideLayouts/slideLayout158.xml"/><Relationship Id="rId56" Type="http://schemas.openxmlformats.org/officeDocument/2006/relationships/slideLayout" Target="../slideLayouts/slideLayout166.xml"/><Relationship Id="rId8" Type="http://schemas.openxmlformats.org/officeDocument/2006/relationships/slideLayout" Target="../slideLayouts/slideLayout118.xml"/><Relationship Id="rId51" Type="http://schemas.openxmlformats.org/officeDocument/2006/relationships/slideLayout" Target="../slideLayouts/slideLayout161.xml"/><Relationship Id="rId3" Type="http://schemas.openxmlformats.org/officeDocument/2006/relationships/slideLayout" Target="../slideLayouts/slideLayout113.xml"/><Relationship Id="rId12" Type="http://schemas.openxmlformats.org/officeDocument/2006/relationships/slideLayout" Target="../slideLayouts/slideLayout122.xml"/><Relationship Id="rId17" Type="http://schemas.openxmlformats.org/officeDocument/2006/relationships/slideLayout" Target="../slideLayouts/slideLayout127.xml"/><Relationship Id="rId25" Type="http://schemas.openxmlformats.org/officeDocument/2006/relationships/slideLayout" Target="../slideLayouts/slideLayout135.xml"/><Relationship Id="rId33" Type="http://schemas.openxmlformats.org/officeDocument/2006/relationships/slideLayout" Target="../slideLayouts/slideLayout143.xml"/><Relationship Id="rId38" Type="http://schemas.openxmlformats.org/officeDocument/2006/relationships/slideLayout" Target="../slideLayouts/slideLayout148.xml"/><Relationship Id="rId46" Type="http://schemas.openxmlformats.org/officeDocument/2006/relationships/slideLayout" Target="../slideLayouts/slideLayout156.xml"/><Relationship Id="rId59" Type="http://schemas.openxmlformats.org/officeDocument/2006/relationships/image" Target="../media/image6.gif"/><Relationship Id="rId20" Type="http://schemas.openxmlformats.org/officeDocument/2006/relationships/slideLayout" Target="../slideLayouts/slideLayout130.xml"/><Relationship Id="rId41" Type="http://schemas.openxmlformats.org/officeDocument/2006/relationships/slideLayout" Target="../slideLayouts/slideLayout151.xml"/><Relationship Id="rId54" Type="http://schemas.openxmlformats.org/officeDocument/2006/relationships/slideLayout" Target="../slideLayouts/slideLayout164.xml"/><Relationship Id="rId1" Type="http://schemas.openxmlformats.org/officeDocument/2006/relationships/slideLayout" Target="../slideLayouts/slideLayout111.xml"/><Relationship Id="rId6" Type="http://schemas.openxmlformats.org/officeDocument/2006/relationships/slideLayout" Target="../slideLayouts/slideLayout116.xml"/><Relationship Id="rId15" Type="http://schemas.openxmlformats.org/officeDocument/2006/relationships/slideLayout" Target="../slideLayouts/slideLayout125.xml"/><Relationship Id="rId23" Type="http://schemas.openxmlformats.org/officeDocument/2006/relationships/slideLayout" Target="../slideLayouts/slideLayout133.xml"/><Relationship Id="rId28" Type="http://schemas.openxmlformats.org/officeDocument/2006/relationships/slideLayout" Target="../slideLayouts/slideLayout138.xml"/><Relationship Id="rId36" Type="http://schemas.openxmlformats.org/officeDocument/2006/relationships/slideLayout" Target="../slideLayouts/slideLayout146.xml"/><Relationship Id="rId49" Type="http://schemas.openxmlformats.org/officeDocument/2006/relationships/slideLayout" Target="../slideLayouts/slideLayout159.xml"/><Relationship Id="rId57" Type="http://schemas.openxmlformats.org/officeDocument/2006/relationships/slideLayout" Target="../slideLayouts/slideLayout167.xml"/><Relationship Id="rId10" Type="http://schemas.openxmlformats.org/officeDocument/2006/relationships/slideLayout" Target="../slideLayouts/slideLayout120.xml"/><Relationship Id="rId31" Type="http://schemas.openxmlformats.org/officeDocument/2006/relationships/slideLayout" Target="../slideLayouts/slideLayout141.xml"/><Relationship Id="rId44" Type="http://schemas.openxmlformats.org/officeDocument/2006/relationships/slideLayout" Target="../slideLayouts/slideLayout154.xml"/><Relationship Id="rId52" Type="http://schemas.openxmlformats.org/officeDocument/2006/relationships/slideLayout" Target="../slideLayouts/slideLayout162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75.xml"/><Relationship Id="rId13" Type="http://schemas.openxmlformats.org/officeDocument/2006/relationships/slideLayout" Target="../slideLayouts/slideLayout180.xml"/><Relationship Id="rId18" Type="http://schemas.openxmlformats.org/officeDocument/2006/relationships/slideLayout" Target="../slideLayouts/slideLayout185.xml"/><Relationship Id="rId3" Type="http://schemas.openxmlformats.org/officeDocument/2006/relationships/slideLayout" Target="../slideLayouts/slideLayout170.xml"/><Relationship Id="rId21" Type="http://schemas.openxmlformats.org/officeDocument/2006/relationships/image" Target="../media/image15.png"/><Relationship Id="rId7" Type="http://schemas.openxmlformats.org/officeDocument/2006/relationships/slideLayout" Target="../slideLayouts/slideLayout174.xml"/><Relationship Id="rId12" Type="http://schemas.openxmlformats.org/officeDocument/2006/relationships/slideLayout" Target="../slideLayouts/slideLayout179.xml"/><Relationship Id="rId17" Type="http://schemas.openxmlformats.org/officeDocument/2006/relationships/slideLayout" Target="../slideLayouts/slideLayout184.xml"/><Relationship Id="rId2" Type="http://schemas.openxmlformats.org/officeDocument/2006/relationships/slideLayout" Target="../slideLayouts/slideLayout169.xml"/><Relationship Id="rId16" Type="http://schemas.openxmlformats.org/officeDocument/2006/relationships/slideLayout" Target="../slideLayouts/slideLayout183.xml"/><Relationship Id="rId20" Type="http://schemas.openxmlformats.org/officeDocument/2006/relationships/theme" Target="../theme/theme6.xml"/><Relationship Id="rId1" Type="http://schemas.openxmlformats.org/officeDocument/2006/relationships/slideLayout" Target="../slideLayouts/slideLayout168.xml"/><Relationship Id="rId6" Type="http://schemas.openxmlformats.org/officeDocument/2006/relationships/slideLayout" Target="../slideLayouts/slideLayout173.xml"/><Relationship Id="rId11" Type="http://schemas.openxmlformats.org/officeDocument/2006/relationships/slideLayout" Target="../slideLayouts/slideLayout178.xml"/><Relationship Id="rId5" Type="http://schemas.openxmlformats.org/officeDocument/2006/relationships/slideLayout" Target="../slideLayouts/slideLayout172.xml"/><Relationship Id="rId15" Type="http://schemas.openxmlformats.org/officeDocument/2006/relationships/slideLayout" Target="../slideLayouts/slideLayout182.xml"/><Relationship Id="rId10" Type="http://schemas.openxmlformats.org/officeDocument/2006/relationships/slideLayout" Target="../slideLayouts/slideLayout177.xml"/><Relationship Id="rId19" Type="http://schemas.openxmlformats.org/officeDocument/2006/relationships/slideLayout" Target="../slideLayouts/slideLayout186.xml"/><Relationship Id="rId4" Type="http://schemas.openxmlformats.org/officeDocument/2006/relationships/slideLayout" Target="../slideLayouts/slideLayout171.xml"/><Relationship Id="rId9" Type="http://schemas.openxmlformats.org/officeDocument/2006/relationships/slideLayout" Target="../slideLayouts/slideLayout176.xml"/><Relationship Id="rId14" Type="http://schemas.openxmlformats.org/officeDocument/2006/relationships/slideLayout" Target="../slideLayouts/slideLayout181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9.xml"/><Relationship Id="rId18" Type="http://schemas.openxmlformats.org/officeDocument/2006/relationships/slideLayout" Target="../slideLayouts/slideLayout204.xml"/><Relationship Id="rId26" Type="http://schemas.openxmlformats.org/officeDocument/2006/relationships/slideLayout" Target="../slideLayouts/slideLayout212.xml"/><Relationship Id="rId39" Type="http://schemas.openxmlformats.org/officeDocument/2006/relationships/slideLayout" Target="../slideLayouts/slideLayout225.xml"/><Relationship Id="rId21" Type="http://schemas.openxmlformats.org/officeDocument/2006/relationships/slideLayout" Target="../slideLayouts/slideLayout207.xml"/><Relationship Id="rId34" Type="http://schemas.openxmlformats.org/officeDocument/2006/relationships/slideLayout" Target="../slideLayouts/slideLayout220.xml"/><Relationship Id="rId42" Type="http://schemas.openxmlformats.org/officeDocument/2006/relationships/slideLayout" Target="../slideLayouts/slideLayout228.xml"/><Relationship Id="rId47" Type="http://schemas.openxmlformats.org/officeDocument/2006/relationships/slideLayout" Target="../slideLayouts/slideLayout233.xml"/><Relationship Id="rId50" Type="http://schemas.openxmlformats.org/officeDocument/2006/relationships/slideLayout" Target="../slideLayouts/slideLayout236.xml"/><Relationship Id="rId55" Type="http://schemas.openxmlformats.org/officeDocument/2006/relationships/slideLayout" Target="../slideLayouts/slideLayout241.xml"/><Relationship Id="rId7" Type="http://schemas.openxmlformats.org/officeDocument/2006/relationships/slideLayout" Target="../slideLayouts/slideLayout193.xml"/><Relationship Id="rId2" Type="http://schemas.openxmlformats.org/officeDocument/2006/relationships/slideLayout" Target="../slideLayouts/slideLayout188.xml"/><Relationship Id="rId16" Type="http://schemas.openxmlformats.org/officeDocument/2006/relationships/slideLayout" Target="../slideLayouts/slideLayout202.xml"/><Relationship Id="rId29" Type="http://schemas.openxmlformats.org/officeDocument/2006/relationships/slideLayout" Target="../slideLayouts/slideLayout215.xml"/><Relationship Id="rId11" Type="http://schemas.openxmlformats.org/officeDocument/2006/relationships/slideLayout" Target="../slideLayouts/slideLayout197.xml"/><Relationship Id="rId24" Type="http://schemas.openxmlformats.org/officeDocument/2006/relationships/slideLayout" Target="../slideLayouts/slideLayout210.xml"/><Relationship Id="rId32" Type="http://schemas.openxmlformats.org/officeDocument/2006/relationships/slideLayout" Target="../slideLayouts/slideLayout218.xml"/><Relationship Id="rId37" Type="http://schemas.openxmlformats.org/officeDocument/2006/relationships/slideLayout" Target="../slideLayouts/slideLayout223.xml"/><Relationship Id="rId40" Type="http://schemas.openxmlformats.org/officeDocument/2006/relationships/slideLayout" Target="../slideLayouts/slideLayout226.xml"/><Relationship Id="rId45" Type="http://schemas.openxmlformats.org/officeDocument/2006/relationships/slideLayout" Target="../slideLayouts/slideLayout231.xml"/><Relationship Id="rId53" Type="http://schemas.openxmlformats.org/officeDocument/2006/relationships/slideLayout" Target="../slideLayouts/slideLayout239.xml"/><Relationship Id="rId58" Type="http://schemas.openxmlformats.org/officeDocument/2006/relationships/image" Target="../media/image6.gif"/><Relationship Id="rId5" Type="http://schemas.openxmlformats.org/officeDocument/2006/relationships/slideLayout" Target="../slideLayouts/slideLayout191.xml"/><Relationship Id="rId19" Type="http://schemas.openxmlformats.org/officeDocument/2006/relationships/slideLayout" Target="../slideLayouts/slideLayout205.xml"/><Relationship Id="rId4" Type="http://schemas.openxmlformats.org/officeDocument/2006/relationships/slideLayout" Target="../slideLayouts/slideLayout190.xml"/><Relationship Id="rId9" Type="http://schemas.openxmlformats.org/officeDocument/2006/relationships/slideLayout" Target="../slideLayouts/slideLayout195.xml"/><Relationship Id="rId14" Type="http://schemas.openxmlformats.org/officeDocument/2006/relationships/slideLayout" Target="../slideLayouts/slideLayout200.xml"/><Relationship Id="rId22" Type="http://schemas.openxmlformats.org/officeDocument/2006/relationships/slideLayout" Target="../slideLayouts/slideLayout208.xml"/><Relationship Id="rId27" Type="http://schemas.openxmlformats.org/officeDocument/2006/relationships/slideLayout" Target="../slideLayouts/slideLayout213.xml"/><Relationship Id="rId30" Type="http://schemas.openxmlformats.org/officeDocument/2006/relationships/slideLayout" Target="../slideLayouts/slideLayout216.xml"/><Relationship Id="rId35" Type="http://schemas.openxmlformats.org/officeDocument/2006/relationships/slideLayout" Target="../slideLayouts/slideLayout221.xml"/><Relationship Id="rId43" Type="http://schemas.openxmlformats.org/officeDocument/2006/relationships/slideLayout" Target="../slideLayouts/slideLayout229.xml"/><Relationship Id="rId48" Type="http://schemas.openxmlformats.org/officeDocument/2006/relationships/slideLayout" Target="../slideLayouts/slideLayout234.xml"/><Relationship Id="rId56" Type="http://schemas.openxmlformats.org/officeDocument/2006/relationships/slideLayout" Target="../slideLayouts/slideLayout242.xml"/><Relationship Id="rId8" Type="http://schemas.openxmlformats.org/officeDocument/2006/relationships/slideLayout" Target="../slideLayouts/slideLayout194.xml"/><Relationship Id="rId51" Type="http://schemas.openxmlformats.org/officeDocument/2006/relationships/slideLayout" Target="../slideLayouts/slideLayout237.xml"/><Relationship Id="rId3" Type="http://schemas.openxmlformats.org/officeDocument/2006/relationships/slideLayout" Target="../slideLayouts/slideLayout189.xml"/><Relationship Id="rId12" Type="http://schemas.openxmlformats.org/officeDocument/2006/relationships/slideLayout" Target="../slideLayouts/slideLayout198.xml"/><Relationship Id="rId17" Type="http://schemas.openxmlformats.org/officeDocument/2006/relationships/slideLayout" Target="../slideLayouts/slideLayout203.xml"/><Relationship Id="rId25" Type="http://schemas.openxmlformats.org/officeDocument/2006/relationships/slideLayout" Target="../slideLayouts/slideLayout211.xml"/><Relationship Id="rId33" Type="http://schemas.openxmlformats.org/officeDocument/2006/relationships/slideLayout" Target="../slideLayouts/slideLayout219.xml"/><Relationship Id="rId38" Type="http://schemas.openxmlformats.org/officeDocument/2006/relationships/slideLayout" Target="../slideLayouts/slideLayout224.xml"/><Relationship Id="rId46" Type="http://schemas.openxmlformats.org/officeDocument/2006/relationships/slideLayout" Target="../slideLayouts/slideLayout232.xml"/><Relationship Id="rId20" Type="http://schemas.openxmlformats.org/officeDocument/2006/relationships/slideLayout" Target="../slideLayouts/slideLayout206.xml"/><Relationship Id="rId41" Type="http://schemas.openxmlformats.org/officeDocument/2006/relationships/slideLayout" Target="../slideLayouts/slideLayout227.xml"/><Relationship Id="rId54" Type="http://schemas.openxmlformats.org/officeDocument/2006/relationships/slideLayout" Target="../slideLayouts/slideLayout240.xml"/><Relationship Id="rId1" Type="http://schemas.openxmlformats.org/officeDocument/2006/relationships/slideLayout" Target="../slideLayouts/slideLayout187.xml"/><Relationship Id="rId6" Type="http://schemas.openxmlformats.org/officeDocument/2006/relationships/slideLayout" Target="../slideLayouts/slideLayout192.xml"/><Relationship Id="rId15" Type="http://schemas.openxmlformats.org/officeDocument/2006/relationships/slideLayout" Target="../slideLayouts/slideLayout201.xml"/><Relationship Id="rId23" Type="http://schemas.openxmlformats.org/officeDocument/2006/relationships/slideLayout" Target="../slideLayouts/slideLayout209.xml"/><Relationship Id="rId28" Type="http://schemas.openxmlformats.org/officeDocument/2006/relationships/slideLayout" Target="../slideLayouts/slideLayout214.xml"/><Relationship Id="rId36" Type="http://schemas.openxmlformats.org/officeDocument/2006/relationships/slideLayout" Target="../slideLayouts/slideLayout222.xml"/><Relationship Id="rId49" Type="http://schemas.openxmlformats.org/officeDocument/2006/relationships/slideLayout" Target="../slideLayouts/slideLayout235.xml"/><Relationship Id="rId57" Type="http://schemas.openxmlformats.org/officeDocument/2006/relationships/theme" Target="../theme/theme7.xml"/><Relationship Id="rId10" Type="http://schemas.openxmlformats.org/officeDocument/2006/relationships/slideLayout" Target="../slideLayouts/slideLayout196.xml"/><Relationship Id="rId31" Type="http://schemas.openxmlformats.org/officeDocument/2006/relationships/slideLayout" Target="../slideLayouts/slideLayout217.xml"/><Relationship Id="rId44" Type="http://schemas.openxmlformats.org/officeDocument/2006/relationships/slideLayout" Target="../slideLayouts/slideLayout230.xml"/><Relationship Id="rId52" Type="http://schemas.openxmlformats.org/officeDocument/2006/relationships/slideLayout" Target="../slideLayouts/slideLayout238.xml"/></Relationships>
</file>

<file path=ppt/slideMasters/_rels/slideMaster8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8.xml"/><Relationship Id="rId21" Type="http://schemas.openxmlformats.org/officeDocument/2006/relationships/slideLayout" Target="../slideLayouts/slideLayout263.xml"/><Relationship Id="rId34" Type="http://schemas.openxmlformats.org/officeDocument/2006/relationships/slideLayout" Target="../slideLayouts/slideLayout276.xml"/><Relationship Id="rId42" Type="http://schemas.openxmlformats.org/officeDocument/2006/relationships/slideLayout" Target="../slideLayouts/slideLayout284.xml"/><Relationship Id="rId47" Type="http://schemas.openxmlformats.org/officeDocument/2006/relationships/slideLayout" Target="../slideLayouts/slideLayout289.xml"/><Relationship Id="rId50" Type="http://schemas.openxmlformats.org/officeDocument/2006/relationships/slideLayout" Target="../slideLayouts/slideLayout292.xml"/><Relationship Id="rId55" Type="http://schemas.openxmlformats.org/officeDocument/2006/relationships/slideLayout" Target="../slideLayouts/slideLayout297.xml"/><Relationship Id="rId63" Type="http://schemas.openxmlformats.org/officeDocument/2006/relationships/slideLayout" Target="../slideLayouts/slideLayout305.xml"/><Relationship Id="rId7" Type="http://schemas.openxmlformats.org/officeDocument/2006/relationships/slideLayout" Target="../slideLayouts/slideLayout249.xml"/><Relationship Id="rId2" Type="http://schemas.openxmlformats.org/officeDocument/2006/relationships/slideLayout" Target="../slideLayouts/slideLayout244.xml"/><Relationship Id="rId16" Type="http://schemas.openxmlformats.org/officeDocument/2006/relationships/slideLayout" Target="../slideLayouts/slideLayout258.xml"/><Relationship Id="rId29" Type="http://schemas.openxmlformats.org/officeDocument/2006/relationships/slideLayout" Target="../slideLayouts/slideLayout271.xml"/><Relationship Id="rId11" Type="http://schemas.openxmlformats.org/officeDocument/2006/relationships/slideLayout" Target="../slideLayouts/slideLayout253.xml"/><Relationship Id="rId24" Type="http://schemas.openxmlformats.org/officeDocument/2006/relationships/slideLayout" Target="../slideLayouts/slideLayout266.xml"/><Relationship Id="rId32" Type="http://schemas.openxmlformats.org/officeDocument/2006/relationships/slideLayout" Target="../slideLayouts/slideLayout274.xml"/><Relationship Id="rId37" Type="http://schemas.openxmlformats.org/officeDocument/2006/relationships/slideLayout" Target="../slideLayouts/slideLayout279.xml"/><Relationship Id="rId40" Type="http://schemas.openxmlformats.org/officeDocument/2006/relationships/slideLayout" Target="../slideLayouts/slideLayout282.xml"/><Relationship Id="rId45" Type="http://schemas.openxmlformats.org/officeDocument/2006/relationships/slideLayout" Target="../slideLayouts/slideLayout287.xml"/><Relationship Id="rId53" Type="http://schemas.openxmlformats.org/officeDocument/2006/relationships/slideLayout" Target="../slideLayouts/slideLayout295.xml"/><Relationship Id="rId58" Type="http://schemas.openxmlformats.org/officeDocument/2006/relationships/slideLayout" Target="../slideLayouts/slideLayout300.xml"/><Relationship Id="rId66" Type="http://schemas.openxmlformats.org/officeDocument/2006/relationships/image" Target="../media/image1.gif"/><Relationship Id="rId5" Type="http://schemas.openxmlformats.org/officeDocument/2006/relationships/slideLayout" Target="../slideLayouts/slideLayout247.xml"/><Relationship Id="rId61" Type="http://schemas.openxmlformats.org/officeDocument/2006/relationships/slideLayout" Target="../slideLayouts/slideLayout303.xml"/><Relationship Id="rId19" Type="http://schemas.openxmlformats.org/officeDocument/2006/relationships/slideLayout" Target="../slideLayouts/slideLayout261.xml"/><Relationship Id="rId14" Type="http://schemas.openxmlformats.org/officeDocument/2006/relationships/slideLayout" Target="../slideLayouts/slideLayout256.xml"/><Relationship Id="rId22" Type="http://schemas.openxmlformats.org/officeDocument/2006/relationships/slideLayout" Target="../slideLayouts/slideLayout264.xml"/><Relationship Id="rId27" Type="http://schemas.openxmlformats.org/officeDocument/2006/relationships/slideLayout" Target="../slideLayouts/slideLayout269.xml"/><Relationship Id="rId30" Type="http://schemas.openxmlformats.org/officeDocument/2006/relationships/slideLayout" Target="../slideLayouts/slideLayout272.xml"/><Relationship Id="rId35" Type="http://schemas.openxmlformats.org/officeDocument/2006/relationships/slideLayout" Target="../slideLayouts/slideLayout277.xml"/><Relationship Id="rId43" Type="http://schemas.openxmlformats.org/officeDocument/2006/relationships/slideLayout" Target="../slideLayouts/slideLayout285.xml"/><Relationship Id="rId48" Type="http://schemas.openxmlformats.org/officeDocument/2006/relationships/slideLayout" Target="../slideLayouts/slideLayout290.xml"/><Relationship Id="rId56" Type="http://schemas.openxmlformats.org/officeDocument/2006/relationships/slideLayout" Target="../slideLayouts/slideLayout298.xml"/><Relationship Id="rId64" Type="http://schemas.openxmlformats.org/officeDocument/2006/relationships/slideLayout" Target="../slideLayouts/slideLayout306.xml"/><Relationship Id="rId8" Type="http://schemas.openxmlformats.org/officeDocument/2006/relationships/slideLayout" Target="../slideLayouts/slideLayout250.xml"/><Relationship Id="rId51" Type="http://schemas.openxmlformats.org/officeDocument/2006/relationships/slideLayout" Target="../slideLayouts/slideLayout293.xml"/><Relationship Id="rId3" Type="http://schemas.openxmlformats.org/officeDocument/2006/relationships/slideLayout" Target="../slideLayouts/slideLayout245.xml"/><Relationship Id="rId12" Type="http://schemas.openxmlformats.org/officeDocument/2006/relationships/slideLayout" Target="../slideLayouts/slideLayout254.xml"/><Relationship Id="rId17" Type="http://schemas.openxmlformats.org/officeDocument/2006/relationships/slideLayout" Target="../slideLayouts/slideLayout259.xml"/><Relationship Id="rId25" Type="http://schemas.openxmlformats.org/officeDocument/2006/relationships/slideLayout" Target="../slideLayouts/slideLayout267.xml"/><Relationship Id="rId33" Type="http://schemas.openxmlformats.org/officeDocument/2006/relationships/slideLayout" Target="../slideLayouts/slideLayout275.xml"/><Relationship Id="rId38" Type="http://schemas.openxmlformats.org/officeDocument/2006/relationships/slideLayout" Target="../slideLayouts/slideLayout280.xml"/><Relationship Id="rId46" Type="http://schemas.openxmlformats.org/officeDocument/2006/relationships/slideLayout" Target="../slideLayouts/slideLayout288.xml"/><Relationship Id="rId59" Type="http://schemas.openxmlformats.org/officeDocument/2006/relationships/slideLayout" Target="../slideLayouts/slideLayout301.xml"/><Relationship Id="rId20" Type="http://schemas.openxmlformats.org/officeDocument/2006/relationships/slideLayout" Target="../slideLayouts/slideLayout262.xml"/><Relationship Id="rId41" Type="http://schemas.openxmlformats.org/officeDocument/2006/relationships/slideLayout" Target="../slideLayouts/slideLayout283.xml"/><Relationship Id="rId54" Type="http://schemas.openxmlformats.org/officeDocument/2006/relationships/slideLayout" Target="../slideLayouts/slideLayout296.xml"/><Relationship Id="rId62" Type="http://schemas.openxmlformats.org/officeDocument/2006/relationships/slideLayout" Target="../slideLayouts/slideLayout304.xml"/><Relationship Id="rId1" Type="http://schemas.openxmlformats.org/officeDocument/2006/relationships/slideLayout" Target="../slideLayouts/slideLayout243.xml"/><Relationship Id="rId6" Type="http://schemas.openxmlformats.org/officeDocument/2006/relationships/slideLayout" Target="../slideLayouts/slideLayout248.xml"/><Relationship Id="rId15" Type="http://schemas.openxmlformats.org/officeDocument/2006/relationships/slideLayout" Target="../slideLayouts/slideLayout257.xml"/><Relationship Id="rId23" Type="http://schemas.openxmlformats.org/officeDocument/2006/relationships/slideLayout" Target="../slideLayouts/slideLayout265.xml"/><Relationship Id="rId28" Type="http://schemas.openxmlformats.org/officeDocument/2006/relationships/slideLayout" Target="../slideLayouts/slideLayout270.xml"/><Relationship Id="rId36" Type="http://schemas.openxmlformats.org/officeDocument/2006/relationships/slideLayout" Target="../slideLayouts/slideLayout278.xml"/><Relationship Id="rId49" Type="http://schemas.openxmlformats.org/officeDocument/2006/relationships/slideLayout" Target="../slideLayouts/slideLayout291.xml"/><Relationship Id="rId57" Type="http://schemas.openxmlformats.org/officeDocument/2006/relationships/slideLayout" Target="../slideLayouts/slideLayout299.xml"/><Relationship Id="rId10" Type="http://schemas.openxmlformats.org/officeDocument/2006/relationships/slideLayout" Target="../slideLayouts/slideLayout252.xml"/><Relationship Id="rId31" Type="http://schemas.openxmlformats.org/officeDocument/2006/relationships/slideLayout" Target="../slideLayouts/slideLayout273.xml"/><Relationship Id="rId44" Type="http://schemas.openxmlformats.org/officeDocument/2006/relationships/slideLayout" Target="../slideLayouts/slideLayout286.xml"/><Relationship Id="rId52" Type="http://schemas.openxmlformats.org/officeDocument/2006/relationships/slideLayout" Target="../slideLayouts/slideLayout294.xml"/><Relationship Id="rId60" Type="http://schemas.openxmlformats.org/officeDocument/2006/relationships/slideLayout" Target="../slideLayouts/slideLayout302.xml"/><Relationship Id="rId65" Type="http://schemas.openxmlformats.org/officeDocument/2006/relationships/theme" Target="../theme/theme8.xml"/><Relationship Id="rId4" Type="http://schemas.openxmlformats.org/officeDocument/2006/relationships/slideLayout" Target="../slideLayouts/slideLayout246.xml"/><Relationship Id="rId9" Type="http://schemas.openxmlformats.org/officeDocument/2006/relationships/slideLayout" Target="../slideLayouts/slideLayout251.xml"/><Relationship Id="rId13" Type="http://schemas.openxmlformats.org/officeDocument/2006/relationships/slideLayout" Target="../slideLayouts/slideLayout255.xml"/><Relationship Id="rId18" Type="http://schemas.openxmlformats.org/officeDocument/2006/relationships/slideLayout" Target="../slideLayouts/slideLayout260.xml"/><Relationship Id="rId39" Type="http://schemas.openxmlformats.org/officeDocument/2006/relationships/slideLayout" Target="../slideLayouts/slideLayout281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4.xml"/><Relationship Id="rId13" Type="http://schemas.openxmlformats.org/officeDocument/2006/relationships/slideLayout" Target="../slideLayouts/slideLayout319.xml"/><Relationship Id="rId3" Type="http://schemas.openxmlformats.org/officeDocument/2006/relationships/slideLayout" Target="../slideLayouts/slideLayout309.xml"/><Relationship Id="rId7" Type="http://schemas.openxmlformats.org/officeDocument/2006/relationships/slideLayout" Target="../slideLayouts/slideLayout313.xml"/><Relationship Id="rId12" Type="http://schemas.openxmlformats.org/officeDocument/2006/relationships/slideLayout" Target="../slideLayouts/slideLayout318.xml"/><Relationship Id="rId2" Type="http://schemas.openxmlformats.org/officeDocument/2006/relationships/slideLayout" Target="../slideLayouts/slideLayout308.xml"/><Relationship Id="rId16" Type="http://schemas.openxmlformats.org/officeDocument/2006/relationships/image" Target="../media/image1.gif"/><Relationship Id="rId1" Type="http://schemas.openxmlformats.org/officeDocument/2006/relationships/slideLayout" Target="../slideLayouts/slideLayout307.xml"/><Relationship Id="rId6" Type="http://schemas.openxmlformats.org/officeDocument/2006/relationships/slideLayout" Target="../slideLayouts/slideLayout312.xml"/><Relationship Id="rId11" Type="http://schemas.openxmlformats.org/officeDocument/2006/relationships/slideLayout" Target="../slideLayouts/slideLayout317.xml"/><Relationship Id="rId5" Type="http://schemas.openxmlformats.org/officeDocument/2006/relationships/slideLayout" Target="../slideLayouts/slideLayout311.xml"/><Relationship Id="rId15" Type="http://schemas.openxmlformats.org/officeDocument/2006/relationships/theme" Target="../theme/theme9.xml"/><Relationship Id="rId10" Type="http://schemas.openxmlformats.org/officeDocument/2006/relationships/slideLayout" Target="../slideLayouts/slideLayout316.xml"/><Relationship Id="rId4" Type="http://schemas.openxmlformats.org/officeDocument/2006/relationships/slideLayout" Target="../slideLayouts/slideLayout310.xml"/><Relationship Id="rId9" Type="http://schemas.openxmlformats.org/officeDocument/2006/relationships/slideLayout" Target="../slideLayouts/slideLayout315.xml"/><Relationship Id="rId14" Type="http://schemas.openxmlformats.org/officeDocument/2006/relationships/slideLayout" Target="../slideLayouts/slideLayout3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67322826-FB53-4EA8-B4DD-786783600E55}" type="slidenum">
              <a:rPr lang="es-MX" smtClean="0"/>
              <a:t>‹Nº›</a:t>
            </a:fld>
            <a:endParaRPr lang="es-MX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20461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37" r:id="rId1"/>
    <p:sldLayoutId id="2147484038" r:id="rId2"/>
    <p:sldLayoutId id="2147484039" r:id="rId3"/>
    <p:sldLayoutId id="2147484040" r:id="rId4"/>
    <p:sldLayoutId id="2147484041" r:id="rId5"/>
    <p:sldLayoutId id="2147484042" r:id="rId6"/>
    <p:sldLayoutId id="2147484043" r:id="rId7"/>
    <p:sldLayoutId id="2147484044" r:id="rId8"/>
    <p:sldLayoutId id="2147484045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096000" y="6296425"/>
            <a:ext cx="5382691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1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478691" y="6296425"/>
            <a:ext cx="357625" cy="42124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800" b="0" i="0">
                <a:solidFill>
                  <a:schemeClr val="tx1"/>
                </a:solidFill>
                <a:latin typeface="Poppins Light" pitchFamily="2" charset="77"/>
                <a:cs typeface="Poppins Light" pitchFamily="2" charset="77"/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13309" y="1852409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630452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n-GB"/>
              <a:t>Click to edit Master title style</a:t>
            </a: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B8F0974E-49C5-B960-B4F8-5964DD923856}"/>
              </a:ext>
            </a:extLst>
          </p:cNvPr>
          <p:cNvCxnSpPr>
            <a:cxnSpLocks/>
          </p:cNvCxnSpPr>
          <p:nvPr userDrawn="1"/>
        </p:nvCxnSpPr>
        <p:spPr>
          <a:xfrm>
            <a:off x="305435" y="6227547"/>
            <a:ext cx="11550650" cy="0"/>
          </a:xfrm>
          <a:prstGeom prst="line">
            <a:avLst/>
          </a:prstGeom>
          <a:ln w="12700">
            <a:gradFill flip="none" rotWithShape="1">
              <a:gsLst>
                <a:gs pos="0">
                  <a:schemeClr val="accent2"/>
                </a:gs>
                <a:gs pos="99000">
                  <a:schemeClr val="tx2"/>
                </a:gs>
              </a:gsLst>
              <a:lin ang="0" scaled="1"/>
              <a:tileRect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" name="Graphic 4">
            <a:extLst>
              <a:ext uri="{FF2B5EF4-FFF2-40B4-BE49-F238E27FC236}">
                <a16:creationId xmlns:a16="http://schemas.microsoft.com/office/drawing/2014/main" id="{1A196204-FC1A-5216-AF83-73D0AFFCAFA0}"/>
              </a:ext>
            </a:extLst>
          </p:cNvPr>
          <p:cNvPicPr>
            <a:picLocks noChangeAspect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21"/>
              </a:ext>
            </a:extLst>
          </a:blip>
          <a:stretch>
            <a:fillRect/>
          </a:stretch>
        </p:blipFill>
        <p:spPr>
          <a:xfrm>
            <a:off x="305436" y="6362533"/>
            <a:ext cx="1169392" cy="3307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2176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48" r:id="rId1"/>
    <p:sldLayoutId id="2147484049" r:id="rId2"/>
    <p:sldLayoutId id="2147484050" r:id="rId3"/>
    <p:sldLayoutId id="2147484051" r:id="rId4"/>
    <p:sldLayoutId id="2147484052" r:id="rId5"/>
    <p:sldLayoutId id="2147484053" r:id="rId6"/>
    <p:sldLayoutId id="2147484054" r:id="rId7"/>
    <p:sldLayoutId id="2147484055" r:id="rId8"/>
    <p:sldLayoutId id="2147484056" r:id="rId9"/>
    <p:sldLayoutId id="2147484057" r:id="rId10"/>
    <p:sldLayoutId id="2147484058" r:id="rId11"/>
    <p:sldLayoutId id="2147484059" r:id="rId12"/>
    <p:sldLayoutId id="2147484060" r:id="rId13"/>
    <p:sldLayoutId id="2147484061" r:id="rId14"/>
    <p:sldLayoutId id="2147484062" r:id="rId15"/>
    <p:sldLayoutId id="2147484063" r:id="rId16"/>
    <p:sldLayoutId id="2147484064" r:id="rId17"/>
    <p:sldLayoutId id="2147484065" r:id="rId18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i="0" kern="1200" cap="none" baseline="0">
          <a:solidFill>
            <a:schemeClr val="tx1"/>
          </a:solidFill>
          <a:latin typeface="+mj-lt"/>
          <a:ea typeface="Poppins Medium" pitchFamily="2" charset="77"/>
          <a:cs typeface="Poppins Medium" pitchFamily="2" charset="77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i="0" kern="1200">
          <a:gradFill>
            <a:gsLst>
              <a:gs pos="0">
                <a:schemeClr val="accent2"/>
              </a:gs>
              <a:gs pos="100000">
                <a:schemeClr val="tx2"/>
              </a:gs>
            </a:gsLst>
            <a:lin ang="0" scaled="1"/>
          </a:gradFill>
          <a:latin typeface="+mj-lt"/>
          <a:ea typeface="+mn-ea"/>
          <a:cs typeface="Poppins Medium" pitchFamily="2" charset="77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1"/>
        </a:buClr>
        <a:buFont typeface="Arial" panose="020B0604020202020204" pitchFamily="34" charset="0"/>
        <a:buChar char="•"/>
        <a:tabLst/>
        <a:defRPr sz="1600" b="0" i="0" kern="1200">
          <a:solidFill>
            <a:schemeClr val="tx1"/>
          </a:solidFill>
          <a:latin typeface="+mn-lt"/>
          <a:ea typeface="+mn-ea"/>
          <a:cs typeface="Poppins ExtraLight" pitchFamily="2" charset="77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j-lt"/>
          <a:ea typeface="+mn-ea"/>
          <a:cs typeface="Poppins" pitchFamily="2" charset="77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42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32">
          <p15:clr>
            <a:srgbClr val="FDE53C"/>
          </p15:clr>
        </p15:guide>
        <p15:guide id="67" orient="horz" pos="1160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922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509">
          <p15:clr>
            <a:srgbClr val="A4A3A4"/>
          </p15:clr>
        </p15:guide>
        <p15:guide id="77" orient="horz" pos="391">
          <p15:clr>
            <a:srgbClr val="FDE53C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</p15:sldGuideLst>
    </p:ext>
  </p:extLst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DE415C6C-5550-408B-A308-B1AD6AF15EBC}"/>
              </a:ext>
            </a:extLst>
          </p:cNvPr>
          <p:cNvPicPr>
            <a:picLocks noChangeAspect="1"/>
          </p:cNvPicPr>
          <p:nvPr userDrawn="1"/>
        </p:nvPicPr>
        <p:blipFill>
          <a:blip r:embed="rId4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103505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4073" r:id="rId1"/>
    <p:sldLayoutId id="2147484074" r:id="rId2"/>
    <p:sldLayoutId id="2147484075" r:id="rId3"/>
    <p:sldLayoutId id="2147484076" r:id="rId4"/>
    <p:sldLayoutId id="2147484077" r:id="rId5"/>
    <p:sldLayoutId id="2147484078" r:id="rId6"/>
    <p:sldLayoutId id="2147484079" r:id="rId7"/>
    <p:sldLayoutId id="2147484080" r:id="rId8"/>
    <p:sldLayoutId id="2147484081" r:id="rId9"/>
    <p:sldLayoutId id="2147484082" r:id="rId10"/>
    <p:sldLayoutId id="2147484083" r:id="rId11"/>
    <p:sldLayoutId id="2147484084" r:id="rId12"/>
    <p:sldLayoutId id="2147484085" r:id="rId13"/>
    <p:sldLayoutId id="2147484086" r:id="rId14"/>
    <p:sldLayoutId id="2147484087" r:id="rId15"/>
    <p:sldLayoutId id="2147484088" r:id="rId16"/>
    <p:sldLayoutId id="2147484089" r:id="rId17"/>
    <p:sldLayoutId id="2147484090" r:id="rId18"/>
    <p:sldLayoutId id="2147484091" r:id="rId19"/>
    <p:sldLayoutId id="2147484092" r:id="rId20"/>
    <p:sldLayoutId id="2147484093" r:id="rId21"/>
    <p:sldLayoutId id="2147484094" r:id="rId22"/>
    <p:sldLayoutId id="2147484095" r:id="rId23"/>
    <p:sldLayoutId id="2147484096" r:id="rId24"/>
    <p:sldLayoutId id="2147484097" r:id="rId25"/>
    <p:sldLayoutId id="2147484098" r:id="rId26"/>
    <p:sldLayoutId id="2147484099" r:id="rId27"/>
    <p:sldLayoutId id="2147484100" r:id="rId28"/>
    <p:sldLayoutId id="2147484101" r:id="rId29"/>
    <p:sldLayoutId id="2147484102" r:id="rId30"/>
    <p:sldLayoutId id="2147484103" r:id="rId31"/>
    <p:sldLayoutId id="2147484104" r:id="rId32"/>
    <p:sldLayoutId id="2147484105" r:id="rId33"/>
    <p:sldLayoutId id="2147484106" r:id="rId34"/>
    <p:sldLayoutId id="2147484107" r:id="rId35"/>
    <p:sldLayoutId id="2147484108" r:id="rId36"/>
    <p:sldLayoutId id="2147484109" r:id="rId37"/>
    <p:sldLayoutId id="2147484110" r:id="rId38"/>
    <p:sldLayoutId id="2147484111" r:id="rId39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bg2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81697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  <p:sldLayoutId id="2147483680" r:id="rId2"/>
    <p:sldLayoutId id="2147483681" r:id="rId3"/>
    <p:sldLayoutId id="2147483682" r:id="rId4"/>
    <p:sldLayoutId id="2147483683" r:id="rId5"/>
    <p:sldLayoutId id="2147483684" r:id="rId6"/>
    <p:sldLayoutId id="2147483685" r:id="rId7"/>
    <p:sldLayoutId id="2147483686" r:id="rId8"/>
    <p:sldLayoutId id="2147483687" r:id="rId9"/>
    <p:sldLayoutId id="2147483688" r:id="rId10"/>
    <p:sldLayoutId id="2147483689" r:id="rId11"/>
    <p:sldLayoutId id="2147483690" r:id="rId12"/>
    <p:sldLayoutId id="2147483691" r:id="rId13"/>
    <p:sldLayoutId id="2147483692" r:id="rId14"/>
    <p:sldLayoutId id="2147483693" r:id="rId15"/>
    <p:sldLayoutId id="2147483694" r:id="rId16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322812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698" r:id="rId3"/>
    <p:sldLayoutId id="2147483699" r:id="rId4"/>
    <p:sldLayoutId id="2147483700" r:id="rId5"/>
    <p:sldLayoutId id="2147483701" r:id="rId6"/>
    <p:sldLayoutId id="2147483702" r:id="rId7"/>
    <p:sldLayoutId id="2147483703" r:id="rId8"/>
    <p:sldLayoutId id="2147483704" r:id="rId9"/>
    <p:sldLayoutId id="2147483705" r:id="rId10"/>
    <p:sldLayoutId id="2147483706" r:id="rId11"/>
    <p:sldLayoutId id="2147483707" r:id="rId12"/>
    <p:sldLayoutId id="2147483708" r:id="rId13"/>
    <p:sldLayoutId id="214748370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s-MX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667D9463-A7A5-4F37-880A-608AF7CBB95D}" type="slidenum">
              <a:rPr lang="es-MX" smtClean="0"/>
              <a:t>‹Nº›</a:t>
            </a:fld>
            <a:endParaRPr lang="es-MX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65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4513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2" r:id="rId2"/>
    <p:sldLayoutId id="2147483713" r:id="rId3"/>
    <p:sldLayoutId id="2147483714" r:id="rId4"/>
    <p:sldLayoutId id="2147483715" r:id="rId5"/>
    <p:sldLayoutId id="2147483716" r:id="rId6"/>
    <p:sldLayoutId id="2147483717" r:id="rId7"/>
    <p:sldLayoutId id="2147483718" r:id="rId8"/>
    <p:sldLayoutId id="2147483719" r:id="rId9"/>
    <p:sldLayoutId id="2147483720" r:id="rId10"/>
    <p:sldLayoutId id="2147483721" r:id="rId11"/>
    <p:sldLayoutId id="2147483722" r:id="rId12"/>
    <p:sldLayoutId id="2147483723" r:id="rId13"/>
    <p:sldLayoutId id="2147483724" r:id="rId14"/>
    <p:sldLayoutId id="2147483725" r:id="rId15"/>
    <p:sldLayoutId id="2147483726" r:id="rId16"/>
    <p:sldLayoutId id="2147483727" r:id="rId17"/>
    <p:sldLayoutId id="2147483728" r:id="rId18"/>
    <p:sldLayoutId id="2147483729" r:id="rId19"/>
    <p:sldLayoutId id="2147483730" r:id="rId20"/>
    <p:sldLayoutId id="2147483731" r:id="rId21"/>
    <p:sldLayoutId id="2147483732" r:id="rId22"/>
    <p:sldLayoutId id="2147483733" r:id="rId23"/>
    <p:sldLayoutId id="2147483734" r:id="rId24"/>
    <p:sldLayoutId id="2147483735" r:id="rId25"/>
    <p:sldLayoutId id="2147483736" r:id="rId26"/>
    <p:sldLayoutId id="2147483737" r:id="rId27"/>
    <p:sldLayoutId id="2147483738" r:id="rId28"/>
    <p:sldLayoutId id="2147483739" r:id="rId29"/>
    <p:sldLayoutId id="2147483740" r:id="rId30"/>
    <p:sldLayoutId id="2147483741" r:id="rId31"/>
    <p:sldLayoutId id="2147483742" r:id="rId32"/>
    <p:sldLayoutId id="2147483743" r:id="rId33"/>
    <p:sldLayoutId id="2147483744" r:id="rId34"/>
    <p:sldLayoutId id="2147483745" r:id="rId35"/>
    <p:sldLayoutId id="2147483746" r:id="rId36"/>
    <p:sldLayoutId id="2147483747" r:id="rId37"/>
    <p:sldLayoutId id="2147483748" r:id="rId38"/>
    <p:sldLayoutId id="2147483749" r:id="rId39"/>
    <p:sldLayoutId id="2147483750" r:id="rId40"/>
    <p:sldLayoutId id="2147483751" r:id="rId41"/>
    <p:sldLayoutId id="2147483752" r:id="rId42"/>
    <p:sldLayoutId id="2147483753" r:id="rId43"/>
    <p:sldLayoutId id="2147483754" r:id="rId44"/>
    <p:sldLayoutId id="2147483755" r:id="rId45"/>
    <p:sldLayoutId id="2147483756" r:id="rId46"/>
    <p:sldLayoutId id="2147483757" r:id="rId47"/>
    <p:sldLayoutId id="2147483758" r:id="rId48"/>
    <p:sldLayoutId id="2147483759" r:id="rId49"/>
    <p:sldLayoutId id="2147483760" r:id="rId50"/>
    <p:sldLayoutId id="2147483761" r:id="rId51"/>
    <p:sldLayoutId id="2147483762" r:id="rId52"/>
    <p:sldLayoutId id="2147483763" r:id="rId53"/>
    <p:sldLayoutId id="2147483764" r:id="rId54"/>
    <p:sldLayoutId id="2147483765" r:id="rId55"/>
    <p:sldLayoutId id="2147483766" r:id="rId56"/>
    <p:sldLayoutId id="2147483768" r:id="rId57"/>
    <p:sldLayoutId id="2147483770" r:id="rId58"/>
    <p:sldLayoutId id="2147483771" r:id="rId59"/>
    <p:sldLayoutId id="2147483775" r:id="rId60"/>
    <p:sldLayoutId id="2147483776" r:id="rId61"/>
    <p:sldLayoutId id="2147484035" r:id="rId62"/>
    <p:sldLayoutId id="2147484046" r:id="rId63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" name="Picture 10">
            <a:extLst>
              <a:ext uri="{FF2B5EF4-FFF2-40B4-BE49-F238E27FC236}">
                <a16:creationId xmlns:a16="http://schemas.microsoft.com/office/drawing/2014/main" id="{A10A0E9D-08F9-8B2F-0713-810BB6931CC6}"/>
              </a:ext>
            </a:extLst>
          </p:cNvPr>
          <p:cNvPicPr>
            <a:picLocks noChangeAspect="1"/>
          </p:cNvPicPr>
          <p:nvPr/>
        </p:nvPicPr>
        <p:blipFill>
          <a:blip r:embed="rId59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5917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8" r:id="rId1"/>
    <p:sldLayoutId id="2147483779" r:id="rId2"/>
    <p:sldLayoutId id="2147483780" r:id="rId3"/>
    <p:sldLayoutId id="2147483781" r:id="rId4"/>
    <p:sldLayoutId id="2147483782" r:id="rId5"/>
    <p:sldLayoutId id="2147483783" r:id="rId6"/>
    <p:sldLayoutId id="2147483784" r:id="rId7"/>
    <p:sldLayoutId id="2147483785" r:id="rId8"/>
    <p:sldLayoutId id="2147483786" r:id="rId9"/>
    <p:sldLayoutId id="2147483787" r:id="rId10"/>
    <p:sldLayoutId id="2147483788" r:id="rId11"/>
    <p:sldLayoutId id="2147483789" r:id="rId12"/>
    <p:sldLayoutId id="2147483790" r:id="rId13"/>
    <p:sldLayoutId id="2147483791" r:id="rId14"/>
    <p:sldLayoutId id="2147483792" r:id="rId15"/>
    <p:sldLayoutId id="2147483793" r:id="rId16"/>
    <p:sldLayoutId id="2147483794" r:id="rId17"/>
    <p:sldLayoutId id="2147483795" r:id="rId18"/>
    <p:sldLayoutId id="2147483796" r:id="rId19"/>
    <p:sldLayoutId id="2147483797" r:id="rId20"/>
    <p:sldLayoutId id="2147483798" r:id="rId21"/>
    <p:sldLayoutId id="2147483799" r:id="rId22"/>
    <p:sldLayoutId id="2147483800" r:id="rId23"/>
    <p:sldLayoutId id="2147483801" r:id="rId24"/>
    <p:sldLayoutId id="2147483802" r:id="rId25"/>
    <p:sldLayoutId id="2147483803" r:id="rId26"/>
    <p:sldLayoutId id="2147483804" r:id="rId27"/>
    <p:sldLayoutId id="2147483805" r:id="rId28"/>
    <p:sldLayoutId id="2147483806" r:id="rId29"/>
    <p:sldLayoutId id="2147483807" r:id="rId30"/>
    <p:sldLayoutId id="2147483808" r:id="rId31"/>
    <p:sldLayoutId id="2147483809" r:id="rId32"/>
    <p:sldLayoutId id="2147483810" r:id="rId33"/>
    <p:sldLayoutId id="2147483811" r:id="rId34"/>
    <p:sldLayoutId id="2147483812" r:id="rId35"/>
    <p:sldLayoutId id="2147483813" r:id="rId36"/>
    <p:sldLayoutId id="2147483814" r:id="rId37"/>
    <p:sldLayoutId id="2147483815" r:id="rId38"/>
    <p:sldLayoutId id="2147483816" r:id="rId39"/>
    <p:sldLayoutId id="2147483817" r:id="rId40"/>
    <p:sldLayoutId id="2147483818" r:id="rId41"/>
    <p:sldLayoutId id="2147483819" r:id="rId42"/>
    <p:sldLayoutId id="2147483820" r:id="rId43"/>
    <p:sldLayoutId id="2147483821" r:id="rId44"/>
    <p:sldLayoutId id="2147483822" r:id="rId45"/>
    <p:sldLayoutId id="2147483823" r:id="rId46"/>
    <p:sldLayoutId id="2147483824" r:id="rId47"/>
    <p:sldLayoutId id="2147483825" r:id="rId48"/>
    <p:sldLayoutId id="2147483826" r:id="rId49"/>
    <p:sldLayoutId id="2147483827" r:id="rId50"/>
    <p:sldLayoutId id="2147483828" r:id="rId51"/>
    <p:sldLayoutId id="2147483829" r:id="rId52"/>
    <p:sldLayoutId id="2147483830" r:id="rId53"/>
    <p:sldLayoutId id="2147483831" r:id="rId54"/>
    <p:sldLayoutId id="2147483832" r:id="rId55"/>
    <p:sldLayoutId id="2147483833" r:id="rId56"/>
    <p:sldLayoutId id="2147483938" r:id="rId57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1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400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1"/>
            <a:ext cx="10965600" cy="119274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7" y="1802341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5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0" name="Picture 9" descr="Icon&#10;&#10;Description automatically generated">
            <a:extLst>
              <a:ext uri="{FF2B5EF4-FFF2-40B4-BE49-F238E27FC236}">
                <a16:creationId xmlns:a16="http://schemas.microsoft.com/office/drawing/2014/main" id="{BD2AA0BE-0C0E-F642-AB39-96F9643DA115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5936697" y="6327669"/>
            <a:ext cx="318609" cy="3186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38280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  <p:sldLayoutId id="2147483836" r:id="rId2"/>
    <p:sldLayoutId id="2147483837" r:id="rId3"/>
    <p:sldLayoutId id="2147483838" r:id="rId4"/>
    <p:sldLayoutId id="2147483839" r:id="rId5"/>
    <p:sldLayoutId id="2147483840" r:id="rId6"/>
    <p:sldLayoutId id="2147483841" r:id="rId7"/>
    <p:sldLayoutId id="2147483842" r:id="rId8"/>
    <p:sldLayoutId id="2147483843" r:id="rId9"/>
    <p:sldLayoutId id="2147483844" r:id="rId10"/>
    <p:sldLayoutId id="2147483845" r:id="rId11"/>
    <p:sldLayoutId id="2147483846" r:id="rId12"/>
    <p:sldLayoutId id="2147483847" r:id="rId13"/>
    <p:sldLayoutId id="2147483848" r:id="rId14"/>
    <p:sldLayoutId id="2147483849" r:id="rId15"/>
    <p:sldLayoutId id="2147483850" r:id="rId16"/>
    <p:sldLayoutId id="2147483851" r:id="rId17"/>
    <p:sldLayoutId id="2147483852" r:id="rId18"/>
    <p:sldLayoutId id="2147483853" r:id="rId19"/>
  </p:sldLayoutIdLst>
  <p:hf hdr="0" dt="0"/>
  <p:txStyles>
    <p:titleStyle>
      <a:lvl1pPr marL="0" indent="0" algn="l" defTabSz="914377" rtl="0" eaLnBrk="1" latinLnBrk="0" hangingPunct="1">
        <a:lnSpc>
          <a:spcPct val="80000"/>
        </a:lnSpc>
        <a:spcBef>
          <a:spcPct val="0"/>
        </a:spcBef>
        <a:buNone/>
        <a:tabLst>
          <a:tab pos="1777956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377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1" indent="-285744" algn="l" defTabSz="914377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377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Rectangle 18">
            <a:extLst>
              <a:ext uri="{FF2B5EF4-FFF2-40B4-BE49-F238E27FC236}">
                <a16:creationId xmlns:a16="http://schemas.microsoft.com/office/drawing/2014/main" id="{0F404F86-5A46-6A8A-7F3C-9D06DE2A8222}"/>
              </a:ext>
            </a:extLst>
          </p:cNvPr>
          <p:cNvSpPr/>
          <p:nvPr/>
        </p:nvSpPr>
        <p:spPr>
          <a:xfrm>
            <a:off x="0" y="6169024"/>
            <a:ext cx="12192000" cy="688975"/>
          </a:xfrm>
          <a:prstGeom prst="rect">
            <a:avLst/>
          </a:prstGeom>
          <a:solidFill>
            <a:srgbClr val="EDE9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algn="ctr"/>
            <a:endParaRPr lang="en-GB" sz="1400"/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1E16E558-7B46-FD80-0530-EA162C8D2DD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279525" y="6169025"/>
            <a:ext cx="4495800" cy="682622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74050894-5538-1638-22C9-1AE0C5D9577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785261" y="6362299"/>
            <a:ext cx="494264" cy="296078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fld id="{41E71DB5-5680-5541-BB1B-1B8E18C31C82}" type="slidenum">
              <a:rPr lang="en-GB" smtClean="0"/>
              <a:pPr/>
              <a:t>‹Nº›</a:t>
            </a:fld>
            <a:endParaRPr lang="en-GB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484997E-868F-7161-FD80-0AB5EE9301E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785261" y="2060575"/>
            <a:ext cx="10765383" cy="4039142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10" name="Title Placeholder 9">
            <a:extLst>
              <a:ext uri="{FF2B5EF4-FFF2-40B4-BE49-F238E27FC236}">
                <a16:creationId xmlns:a16="http://schemas.microsoft.com/office/drawing/2014/main" id="{4E957452-906A-4D83-78E1-6E866C22B9C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85261" y="279724"/>
            <a:ext cx="10765383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cxnSp>
        <p:nvCxnSpPr>
          <p:cNvPr id="5" name="Straight Connector 4">
            <a:extLst>
              <a:ext uri="{FF2B5EF4-FFF2-40B4-BE49-F238E27FC236}">
                <a16:creationId xmlns:a16="http://schemas.microsoft.com/office/drawing/2014/main" id="{537BCA4A-AD74-2AC4-6377-FE8BF930FB75}"/>
              </a:ext>
            </a:extLst>
          </p:cNvPr>
          <p:cNvCxnSpPr/>
          <p:nvPr/>
        </p:nvCxnSpPr>
        <p:spPr>
          <a:xfrm>
            <a:off x="641350" y="0"/>
            <a:ext cx="0" cy="681038"/>
          </a:xfrm>
          <a:prstGeom prst="line">
            <a:avLst/>
          </a:prstGeom>
          <a:ln w="19050">
            <a:gradFill>
              <a:gsLst>
                <a:gs pos="0">
                  <a:schemeClr val="tx2"/>
                </a:gs>
                <a:gs pos="100000">
                  <a:schemeClr val="accent1"/>
                </a:gs>
              </a:gsLst>
              <a:lin ang="5400000" scaled="1"/>
            </a:gra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" name="Picture 5">
            <a:extLst>
              <a:ext uri="{FF2B5EF4-FFF2-40B4-BE49-F238E27FC236}">
                <a16:creationId xmlns:a16="http://schemas.microsoft.com/office/drawing/2014/main" id="{08B8E3A7-8156-2674-4383-E2F8B5FFEE01}"/>
              </a:ext>
            </a:extLst>
          </p:cNvPr>
          <p:cNvPicPr>
            <a:picLocks noChangeAspect="1"/>
          </p:cNvPicPr>
          <p:nvPr/>
        </p:nvPicPr>
        <p:blipFill>
          <a:blip r:embed="rId58"/>
          <a:srcRect/>
          <a:stretch/>
        </p:blipFill>
        <p:spPr>
          <a:xfrm>
            <a:off x="11612429" y="6299169"/>
            <a:ext cx="441588" cy="4415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10850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5" r:id="rId1"/>
    <p:sldLayoutId id="2147483856" r:id="rId2"/>
    <p:sldLayoutId id="2147483857" r:id="rId3"/>
    <p:sldLayoutId id="2147483858" r:id="rId4"/>
    <p:sldLayoutId id="2147483859" r:id="rId5"/>
    <p:sldLayoutId id="2147483860" r:id="rId6"/>
    <p:sldLayoutId id="2147483861" r:id="rId7"/>
    <p:sldLayoutId id="2147483862" r:id="rId8"/>
    <p:sldLayoutId id="2147483863" r:id="rId9"/>
    <p:sldLayoutId id="2147483864" r:id="rId10"/>
    <p:sldLayoutId id="2147483865" r:id="rId11"/>
    <p:sldLayoutId id="2147483866" r:id="rId12"/>
    <p:sldLayoutId id="2147483867" r:id="rId13"/>
    <p:sldLayoutId id="2147483868" r:id="rId14"/>
    <p:sldLayoutId id="2147483869" r:id="rId15"/>
    <p:sldLayoutId id="2147483870" r:id="rId16"/>
    <p:sldLayoutId id="2147483871" r:id="rId17"/>
    <p:sldLayoutId id="2147483872" r:id="rId18"/>
    <p:sldLayoutId id="2147483873" r:id="rId19"/>
    <p:sldLayoutId id="2147483874" r:id="rId20"/>
    <p:sldLayoutId id="2147483875" r:id="rId21"/>
    <p:sldLayoutId id="2147483876" r:id="rId22"/>
    <p:sldLayoutId id="2147483877" r:id="rId23"/>
    <p:sldLayoutId id="2147483878" r:id="rId24"/>
    <p:sldLayoutId id="2147483879" r:id="rId25"/>
    <p:sldLayoutId id="2147483880" r:id="rId26"/>
    <p:sldLayoutId id="2147483881" r:id="rId27"/>
    <p:sldLayoutId id="2147483882" r:id="rId28"/>
    <p:sldLayoutId id="2147483883" r:id="rId29"/>
    <p:sldLayoutId id="2147483884" r:id="rId30"/>
    <p:sldLayoutId id="2147483885" r:id="rId31"/>
    <p:sldLayoutId id="2147483886" r:id="rId32"/>
    <p:sldLayoutId id="2147483887" r:id="rId33"/>
    <p:sldLayoutId id="2147483888" r:id="rId34"/>
    <p:sldLayoutId id="2147483889" r:id="rId35"/>
    <p:sldLayoutId id="2147483890" r:id="rId36"/>
    <p:sldLayoutId id="2147483891" r:id="rId37"/>
    <p:sldLayoutId id="2147483892" r:id="rId38"/>
    <p:sldLayoutId id="2147483893" r:id="rId39"/>
    <p:sldLayoutId id="2147483894" r:id="rId40"/>
    <p:sldLayoutId id="2147483895" r:id="rId41"/>
    <p:sldLayoutId id="2147483896" r:id="rId42"/>
    <p:sldLayoutId id="2147483897" r:id="rId43"/>
    <p:sldLayoutId id="2147483898" r:id="rId44"/>
    <p:sldLayoutId id="2147483899" r:id="rId45"/>
    <p:sldLayoutId id="2147483900" r:id="rId46"/>
    <p:sldLayoutId id="2147483901" r:id="rId47"/>
    <p:sldLayoutId id="2147483902" r:id="rId48"/>
    <p:sldLayoutId id="2147483903" r:id="rId49"/>
    <p:sldLayoutId id="2147483904" r:id="rId50"/>
    <p:sldLayoutId id="2147483905" r:id="rId51"/>
    <p:sldLayoutId id="2147483906" r:id="rId52"/>
    <p:sldLayoutId id="2147483907" r:id="rId53"/>
    <p:sldLayoutId id="2147483908" r:id="rId54"/>
    <p:sldLayoutId id="2147483909" r:id="rId55"/>
    <p:sldLayoutId id="2147483910" r:id="rId56"/>
  </p:sldLayoutIdLst>
  <p:hf hdr="0" dt="0"/>
  <p:txStyles>
    <p:titleStyle>
      <a:lvl1pPr algn="l" defTabSz="363702" rtl="0" eaLnBrk="1" latinLnBrk="0" hangingPunct="1">
        <a:lnSpc>
          <a:spcPct val="90000"/>
        </a:lnSpc>
        <a:spcBef>
          <a:spcPct val="0"/>
        </a:spcBef>
        <a:buNone/>
        <a:defRPr sz="2800" b="0" kern="1200" cap="none" baseline="0">
          <a:solidFill>
            <a:schemeClr val="tx1"/>
          </a:solidFill>
          <a:latin typeface="+mj-lt"/>
          <a:ea typeface="Century Gothic" charset="0"/>
          <a:cs typeface="Century Gothic" charset="0"/>
        </a:defRPr>
      </a:lvl1pPr>
    </p:titleStyle>
    <p:bodyStyle>
      <a:lvl1pPr marL="0" indent="0" algn="l" defTabSz="363702" rtl="0" eaLnBrk="1" latinLnBrk="0" hangingPunct="1">
        <a:lnSpc>
          <a:spcPct val="11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363702" rtl="0" eaLnBrk="1" latinLnBrk="0" hangingPunct="1">
        <a:lnSpc>
          <a:spcPct val="100000"/>
        </a:lnSpc>
        <a:spcBef>
          <a:spcPts val="0"/>
        </a:spcBef>
        <a:spcAft>
          <a:spcPts val="1200"/>
        </a:spcAft>
        <a:buFont typeface="Arial"/>
        <a:buNone/>
        <a:tabLst/>
        <a:defRPr sz="2000" b="0" kern="1200">
          <a:solidFill>
            <a:schemeClr val="tx2"/>
          </a:solidFill>
          <a:latin typeface="+mn-lt"/>
          <a:ea typeface="+mn-ea"/>
          <a:cs typeface="+mn-cs"/>
        </a:defRPr>
      </a:lvl2pPr>
      <a:lvl3pPr marL="356400" indent="-356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680400" indent="-320400" algn="l" defTabSz="363702" rtl="0" eaLnBrk="1" latinLnBrk="0" hangingPunct="1">
        <a:lnSpc>
          <a:spcPct val="110000"/>
        </a:lnSpc>
        <a:spcBef>
          <a:spcPts val="0"/>
        </a:spcBef>
        <a:spcAft>
          <a:spcPts val="600"/>
        </a:spcAft>
        <a:buClr>
          <a:schemeClr val="tx2"/>
        </a:buClr>
        <a:buFont typeface="System Font Regular"/>
        <a:buChar char="⏤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3055" indent="0" algn="l" defTabSz="363702" rtl="0" eaLnBrk="1" latinLnBrk="0" hangingPunct="1">
        <a:lnSpc>
          <a:spcPct val="90000"/>
        </a:lnSpc>
        <a:spcBef>
          <a:spcPts val="199"/>
        </a:spcBef>
        <a:buFont typeface="Arial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5pPr>
      <a:lvl6pPr marL="1000180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182032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363883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545734" indent="-90926" algn="l" defTabSz="363702" rtl="0" eaLnBrk="1" latinLnBrk="0" hangingPunct="1">
        <a:lnSpc>
          <a:spcPct val="90000"/>
        </a:lnSpc>
        <a:spcBef>
          <a:spcPts val="199"/>
        </a:spcBef>
        <a:buFont typeface="Arial"/>
        <a:buChar char="•"/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1pPr>
      <a:lvl2pPr marL="181851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2pPr>
      <a:lvl3pPr marL="36370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3pPr>
      <a:lvl4pPr marL="545552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4pPr>
      <a:lvl5pPr marL="727404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5pPr>
      <a:lvl6pPr marL="90925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6pPr>
      <a:lvl7pPr marL="1091105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7pPr>
      <a:lvl8pPr marL="127295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8pPr>
      <a:lvl9pPr marL="1454807" algn="l" defTabSz="363702" rtl="0" eaLnBrk="1" latinLnBrk="0" hangingPunct="1">
        <a:defRPr sz="716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404">
          <p15:clr>
            <a:srgbClr val="FDE53C"/>
          </p15:clr>
        </p15:guide>
        <p15:guide id="6" orient="horz" pos="6407">
          <p15:clr>
            <a:srgbClr val="A4A3A4"/>
          </p15:clr>
        </p15:guide>
        <p15:guide id="10" orient="horz" pos="6588">
          <p15:clr>
            <a:srgbClr val="A4A3A4"/>
          </p15:clr>
        </p15:guide>
        <p15:guide id="37" pos="7680">
          <p15:clr>
            <a:srgbClr val="FFFFFF"/>
          </p15:clr>
        </p15:guide>
        <p15:guide id="41" orient="horz" pos="6289">
          <p15:clr>
            <a:srgbClr val="A4A3A4"/>
          </p15:clr>
        </p15:guide>
        <p15:guide id="51" pos="3232">
          <p15:clr>
            <a:srgbClr val="FDE53C"/>
          </p15:clr>
        </p15:guide>
        <p15:guide id="54" pos="4444">
          <p15:clr>
            <a:srgbClr val="FDE53C"/>
          </p15:clr>
        </p15:guide>
        <p15:guide id="59" pos="6062">
          <p15:clr>
            <a:srgbClr val="FDE53C"/>
          </p15:clr>
        </p15:guide>
        <p15:guide id="63" pos="7279">
          <p15:clr>
            <a:srgbClr val="FDE53C"/>
          </p15:clr>
        </p15:guide>
        <p15:guide id="64" orient="horz" pos="169">
          <p15:clr>
            <a:srgbClr val="A4A3A4"/>
          </p15:clr>
        </p15:guide>
        <p15:guide id="66" orient="horz" pos="862">
          <p15:clr>
            <a:srgbClr val="FFFFFF"/>
          </p15:clr>
        </p15:guide>
        <p15:guide id="67" orient="horz" pos="1298">
          <p15:clr>
            <a:srgbClr val="A4A3A4"/>
          </p15:clr>
        </p15:guide>
        <p15:guide id="69" orient="horz" pos="2160">
          <p15:clr>
            <a:srgbClr val="A4A3A4"/>
          </p15:clr>
        </p15:guide>
        <p15:guide id="71" pos="3840">
          <p15:clr>
            <a:srgbClr val="A4A3A4"/>
          </p15:clr>
        </p15:guide>
        <p15:guide id="74" orient="horz" pos="3886">
          <p15:clr>
            <a:srgbClr val="FDE53C"/>
          </p15:clr>
        </p15:guide>
        <p15:guide id="75" orient="horz" pos="4316">
          <p15:clr>
            <a:srgbClr val="FFFFFF"/>
          </p15:clr>
        </p15:guide>
        <p15:guide id="76" pos="491">
          <p15:clr>
            <a:srgbClr val="A4A3A4"/>
          </p15:clr>
        </p15:guide>
        <p15:guide id="77" orient="horz" pos="430">
          <p15:clr>
            <a:srgbClr val="FFFFFF"/>
          </p15:clr>
        </p15:guide>
        <p15:guide id="78">
          <p15:clr>
            <a:srgbClr val="FFFFFF"/>
          </p15:clr>
        </p15:guide>
        <p15:guide id="79" orient="horz">
          <p15:clr>
            <a:srgbClr val="FFFFFF"/>
          </p15:clr>
        </p15:guide>
        <p15:guide id="80" orient="horz" pos="1944">
          <p15:clr>
            <a:srgbClr val="FFFFFF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r>
              <a:rPr lang="en-GB"/>
              <a:t>Source: </a:t>
            </a: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FAAEED16-C424-F848-A022-D919E32FEDB0}"/>
              </a:ext>
            </a:extLst>
          </p:cNvPr>
          <p:cNvPicPr>
            <a:picLocks noChangeAspect="1"/>
          </p:cNvPicPr>
          <p:nvPr/>
        </p:nvPicPr>
        <p:blipFill>
          <a:blip r:embed="rId6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907776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70" r:id="rId1"/>
    <p:sldLayoutId id="2147483971" r:id="rId2"/>
    <p:sldLayoutId id="2147483972" r:id="rId3"/>
    <p:sldLayoutId id="2147483973" r:id="rId4"/>
    <p:sldLayoutId id="2147483974" r:id="rId5"/>
    <p:sldLayoutId id="2147483975" r:id="rId6"/>
    <p:sldLayoutId id="2147483976" r:id="rId7"/>
    <p:sldLayoutId id="2147483977" r:id="rId8"/>
    <p:sldLayoutId id="2147483978" r:id="rId9"/>
    <p:sldLayoutId id="2147483979" r:id="rId10"/>
    <p:sldLayoutId id="2147483980" r:id="rId11"/>
    <p:sldLayoutId id="2147483981" r:id="rId12"/>
    <p:sldLayoutId id="2147483982" r:id="rId13"/>
    <p:sldLayoutId id="2147483983" r:id="rId14"/>
    <p:sldLayoutId id="2147483984" r:id="rId15"/>
    <p:sldLayoutId id="2147483985" r:id="rId16"/>
    <p:sldLayoutId id="2147483986" r:id="rId17"/>
    <p:sldLayoutId id="2147483987" r:id="rId18"/>
    <p:sldLayoutId id="2147483988" r:id="rId19"/>
    <p:sldLayoutId id="2147483989" r:id="rId20"/>
    <p:sldLayoutId id="2147483990" r:id="rId21"/>
    <p:sldLayoutId id="2147483991" r:id="rId22"/>
    <p:sldLayoutId id="2147483992" r:id="rId23"/>
    <p:sldLayoutId id="2147483993" r:id="rId24"/>
    <p:sldLayoutId id="2147483994" r:id="rId25"/>
    <p:sldLayoutId id="2147483995" r:id="rId26"/>
    <p:sldLayoutId id="2147483996" r:id="rId27"/>
    <p:sldLayoutId id="2147483997" r:id="rId28"/>
    <p:sldLayoutId id="2147483998" r:id="rId29"/>
    <p:sldLayoutId id="2147483999" r:id="rId30"/>
    <p:sldLayoutId id="2147484000" r:id="rId31"/>
    <p:sldLayoutId id="2147484001" r:id="rId32"/>
    <p:sldLayoutId id="2147484002" r:id="rId33"/>
    <p:sldLayoutId id="2147484003" r:id="rId34"/>
    <p:sldLayoutId id="2147484004" r:id="rId35"/>
    <p:sldLayoutId id="2147484005" r:id="rId36"/>
    <p:sldLayoutId id="2147484006" r:id="rId37"/>
    <p:sldLayoutId id="2147484007" r:id="rId38"/>
    <p:sldLayoutId id="2147484008" r:id="rId39"/>
    <p:sldLayoutId id="2147484009" r:id="rId40"/>
    <p:sldLayoutId id="2147484010" r:id="rId41"/>
    <p:sldLayoutId id="2147484011" r:id="rId42"/>
    <p:sldLayoutId id="2147484012" r:id="rId43"/>
    <p:sldLayoutId id="2147484013" r:id="rId44"/>
    <p:sldLayoutId id="2147484014" r:id="rId45"/>
    <p:sldLayoutId id="2147484015" r:id="rId46"/>
    <p:sldLayoutId id="2147484016" r:id="rId47"/>
    <p:sldLayoutId id="2147484017" r:id="rId48"/>
    <p:sldLayoutId id="2147484018" r:id="rId49"/>
    <p:sldLayoutId id="2147484019" r:id="rId50"/>
    <p:sldLayoutId id="2147484020" r:id="rId51"/>
    <p:sldLayoutId id="2147484021" r:id="rId52"/>
    <p:sldLayoutId id="2147484022" r:id="rId53"/>
    <p:sldLayoutId id="2147484023" r:id="rId54"/>
    <p:sldLayoutId id="2147484024" r:id="rId55"/>
    <p:sldLayoutId id="2147484025" r:id="rId56"/>
    <p:sldLayoutId id="2147484026" r:id="rId57"/>
    <p:sldLayoutId id="2147484027" r:id="rId58"/>
    <p:sldLayoutId id="2147484028" r:id="rId59"/>
    <p:sldLayoutId id="2147484029" r:id="rId60"/>
    <p:sldLayoutId id="2147484030" r:id="rId61"/>
    <p:sldLayoutId id="2147484031" r:id="rId62"/>
    <p:sldLayoutId id="2147484032" r:id="rId63"/>
    <p:sldLayoutId id="2147484033" r:id="rId6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accent6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4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5" name="Group 14">
            <a:extLst>
              <a:ext uri="{FF2B5EF4-FFF2-40B4-BE49-F238E27FC236}">
                <a16:creationId xmlns:a16="http://schemas.microsoft.com/office/drawing/2014/main" id="{DAF7EE12-1B1F-6E41-A266-FC7AB4CE1D53}"/>
              </a:ext>
            </a:extLst>
          </p:cNvPr>
          <p:cNvGrpSpPr/>
          <p:nvPr userDrawn="1"/>
        </p:nvGrpSpPr>
        <p:grpSpPr>
          <a:xfrm>
            <a:off x="0" y="6244050"/>
            <a:ext cx="12192000" cy="613950"/>
            <a:chOff x="0" y="6244050"/>
            <a:chExt cx="12192000" cy="613950"/>
          </a:xfrm>
        </p:grpSpPr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5FC71CB0-7E7B-994A-BB76-A471F125A5D5}"/>
                </a:ext>
              </a:extLst>
            </p:cNvPr>
            <p:cNvSpPr/>
            <p:nvPr userDrawn="1"/>
          </p:nvSpPr>
          <p:spPr>
            <a:xfrm>
              <a:off x="0" y="6498000"/>
              <a:ext cx="12192000" cy="3600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Oval 12">
              <a:extLst>
                <a:ext uri="{FF2B5EF4-FFF2-40B4-BE49-F238E27FC236}">
                  <a16:creationId xmlns:a16="http://schemas.microsoft.com/office/drawing/2014/main" id="{D3DE6A1C-3463-B344-8EA3-32F04801C3B6}"/>
                </a:ext>
              </a:extLst>
            </p:cNvPr>
            <p:cNvSpPr>
              <a:spLocks noChangeAspect="1"/>
            </p:cNvSpPr>
            <p:nvPr userDrawn="1"/>
          </p:nvSpPr>
          <p:spPr>
            <a:xfrm>
              <a:off x="5844000" y="6244050"/>
              <a:ext cx="504000" cy="504000"/>
            </a:xfrm>
            <a:prstGeom prst="ellipse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31CF5B8-3843-4C44-B076-733FECA15E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18065" y="609600"/>
            <a:ext cx="10965600" cy="1192742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4B6448B-A8FE-8245-A530-8A5CB18A6A4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618066" y="1802342"/>
            <a:ext cx="10965600" cy="44460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A0FE6130-EAEB-B04D-86A2-E9905AE4B939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493933" y="6498000"/>
            <a:ext cx="4846744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1DF428C4-5799-FC45-BFFF-784BF2BE3632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65923" y="6498000"/>
            <a:ext cx="464127" cy="360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2"/>
                </a:solidFill>
              </a:defRPr>
            </a:lvl1pPr>
          </a:lstStyle>
          <a:p>
            <a:fld id="{AB1D7550-0EB0-3A43-B3ED-278106F7B6C0}" type="slidenum">
              <a:rPr lang="en-GB" smtClean="0"/>
              <a:pPr/>
              <a:t>‹Nº›</a:t>
            </a:fld>
            <a:endParaRPr lang="en-GB"/>
          </a:p>
        </p:txBody>
      </p:sp>
      <p:pic>
        <p:nvPicPr>
          <p:cNvPr id="11" name="Graphic 6">
            <a:extLst>
              <a:ext uri="{FF2B5EF4-FFF2-40B4-BE49-F238E27FC236}">
                <a16:creationId xmlns:a16="http://schemas.microsoft.com/office/drawing/2014/main" id="{99C38C30-D4FE-4541-AAED-7567F19F1ADE}"/>
              </a:ext>
            </a:extLst>
          </p:cNvPr>
          <p:cNvPicPr>
            <a:picLocks noChangeAspect="1"/>
          </p:cNvPicPr>
          <p:nvPr userDrawn="1"/>
        </p:nvPicPr>
        <p:blipFill>
          <a:blip r:embed="rId1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5940093" y="6335796"/>
            <a:ext cx="320400" cy="3204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15736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  <p:sldLayoutId id="2147483658" r:id="rId3"/>
    <p:sldLayoutId id="2147483659" r:id="rId4"/>
    <p:sldLayoutId id="2147483660" r:id="rId5"/>
    <p:sldLayoutId id="2147483661" r:id="rId6"/>
    <p:sldLayoutId id="2147483662" r:id="rId7"/>
    <p:sldLayoutId id="2147483663" r:id="rId8"/>
    <p:sldLayoutId id="2147483664" r:id="rId9"/>
    <p:sldLayoutId id="2147483665" r:id="rId10"/>
    <p:sldLayoutId id="2147483666" r:id="rId11"/>
    <p:sldLayoutId id="2147483667" r:id="rId12"/>
    <p:sldLayoutId id="2147483668" r:id="rId13"/>
    <p:sldLayoutId id="2147483669" r:id="rId14"/>
  </p:sldLayoutIdLst>
  <p:hf hdr="0" dt="0"/>
  <p:txStyles>
    <p:titleStyle>
      <a:lvl1pPr marL="0" indent="0" algn="l" defTabSz="914400" rtl="0" eaLnBrk="1" latinLnBrk="0" hangingPunct="1">
        <a:lnSpc>
          <a:spcPct val="80000"/>
        </a:lnSpc>
        <a:spcBef>
          <a:spcPct val="0"/>
        </a:spcBef>
        <a:buNone/>
        <a:tabLst>
          <a:tab pos="1778000" algn="l"/>
        </a:tabLst>
        <a:defRPr sz="2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ct val="80000"/>
        </a:lnSpc>
        <a:spcBef>
          <a:spcPts val="0"/>
        </a:spcBef>
        <a:spcAft>
          <a:spcPts val="600"/>
        </a:spcAft>
        <a:buFont typeface="Arial" panose="020B0604020202020204" pitchFamily="34" charset="0"/>
        <a:buNone/>
        <a:tabLst/>
        <a:defRPr sz="1800" b="1" kern="1200">
          <a:solidFill>
            <a:schemeClr val="bg2"/>
          </a:solidFill>
          <a:latin typeface="+mn-lt"/>
          <a:ea typeface="+mn-ea"/>
          <a:cs typeface="+mn-cs"/>
        </a:defRPr>
      </a:lvl2pPr>
      <a:lvl3pPr marL="293688" indent="-285750" algn="l" defTabSz="914400" rtl="0" eaLnBrk="1" latinLnBrk="0" hangingPunct="1">
        <a:lnSpc>
          <a:spcPct val="120000"/>
        </a:lnSpc>
        <a:spcBef>
          <a:spcPts val="0"/>
        </a:spcBef>
        <a:spcAft>
          <a:spcPts val="600"/>
        </a:spcAft>
        <a:buClr>
          <a:schemeClr val="accent1"/>
        </a:buClr>
        <a:buFont typeface="Arial" panose="020B0604020202020204" pitchFamily="34" charset="0"/>
        <a:buChar char="•"/>
        <a:tabLst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600" b="1" kern="1200">
          <a:solidFill>
            <a:schemeClr val="tx1"/>
          </a:solidFill>
          <a:latin typeface="+mn-lt"/>
          <a:ea typeface="+mn-ea"/>
          <a:cs typeface="+mn-cs"/>
        </a:defRPr>
      </a:lvl4pPr>
      <a:lvl5pPr marL="7938" indent="0" algn="l" defTabSz="914400" rtl="0" eaLnBrk="1" latinLnBrk="0" hangingPunct="1">
        <a:lnSpc>
          <a:spcPct val="120000"/>
        </a:lnSpc>
        <a:spcBef>
          <a:spcPts val="0"/>
        </a:spcBef>
        <a:spcAft>
          <a:spcPts val="1200"/>
        </a:spcAft>
        <a:buFont typeface="Arial" panose="020B0604020202020204" pitchFamily="34" charset="0"/>
        <a:buNone/>
        <a:tabLst/>
        <a:defRPr sz="12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  <p15:guide id="3" pos="226">
          <p15:clr>
            <a:srgbClr val="A4A3A4"/>
          </p15:clr>
        </p15:guide>
        <p15:guide id="4" pos="384">
          <p15:clr>
            <a:srgbClr val="F26B43"/>
          </p15:clr>
        </p15:guide>
        <p15:guide id="5" pos="7452">
          <p15:clr>
            <a:srgbClr val="A4A3A4"/>
          </p15:clr>
        </p15:guide>
        <p15:guide id="6" pos="7294">
          <p15:clr>
            <a:srgbClr val="F26B43"/>
          </p15:clr>
        </p15:guide>
        <p15:guide id="7" orient="horz" pos="4092">
          <p15:clr>
            <a:srgbClr val="A4A3A4"/>
          </p15:clr>
        </p15:guide>
        <p15:guide id="8" orient="horz" pos="224">
          <p15:clr>
            <a:srgbClr val="A4A3A4"/>
          </p15:clr>
        </p15:guide>
        <p15:guide id="9" orient="horz" pos="384">
          <p15:clr>
            <a:srgbClr val="F26B43"/>
          </p15:clr>
        </p15:guide>
        <p15:guide id="10" orient="horz" pos="3934">
          <p15:clr>
            <a:srgbClr val="F26B43"/>
          </p15:clr>
        </p15:guide>
        <p15:guide id="11" orient="horz" pos="153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21.xml"/><Relationship Id="rId5" Type="http://schemas.openxmlformats.org/officeDocument/2006/relationships/image" Target="../media/image34.png"/><Relationship Id="rId4" Type="http://schemas.openxmlformats.org/officeDocument/2006/relationships/image" Target="../media/image33.sv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2" Type="http://schemas.openxmlformats.org/officeDocument/2006/relationships/video" Target="../media/media4.mp4"/><Relationship Id="rId1" Type="http://schemas.microsoft.com/office/2007/relationships/media" Target="../media/media4.mp4"/><Relationship Id="rId6" Type="http://schemas.openxmlformats.org/officeDocument/2006/relationships/image" Target="../media/image38.png"/><Relationship Id="rId5" Type="http://schemas.openxmlformats.org/officeDocument/2006/relationships/image" Target="../media/image47.jpeg"/><Relationship Id="rId4" Type="http://schemas.openxmlformats.org/officeDocument/2006/relationships/notesSlide" Target="../notesSlides/notesSlide5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2" Type="http://schemas.openxmlformats.org/officeDocument/2006/relationships/video" Target="../media/media5.mp4"/><Relationship Id="rId1" Type="http://schemas.microsoft.com/office/2007/relationships/media" Target="../media/media5.mp4"/><Relationship Id="rId6" Type="http://schemas.openxmlformats.org/officeDocument/2006/relationships/image" Target="../media/image38.png"/><Relationship Id="rId5" Type="http://schemas.openxmlformats.org/officeDocument/2006/relationships/image" Target="../media/image48.png"/><Relationship Id="rId4" Type="http://schemas.openxmlformats.org/officeDocument/2006/relationships/notesSlide" Target="../notesSlides/notesSlide6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7" Type="http://schemas.openxmlformats.org/officeDocument/2006/relationships/image" Target="../media/image37.png"/><Relationship Id="rId2" Type="http://schemas.openxmlformats.org/officeDocument/2006/relationships/audio" Target="../media/media3.wav"/><Relationship Id="rId1" Type="http://schemas.microsoft.com/office/2007/relationships/media" Target="../media/media3.wav"/><Relationship Id="rId6" Type="http://schemas.openxmlformats.org/officeDocument/2006/relationships/image" Target="../media/image49.png"/><Relationship Id="rId5" Type="http://schemas.openxmlformats.org/officeDocument/2006/relationships/image" Target="../media/image44.png"/><Relationship Id="rId4" Type="http://schemas.openxmlformats.org/officeDocument/2006/relationships/notesSlide" Target="../notesSlides/notesSlide7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0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32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hyperlink" Target="http://www.deportestvc/" TargetMode="External"/><Relationship Id="rId1" Type="http://schemas.openxmlformats.org/officeDocument/2006/relationships/slideLayout" Target="../slideLayouts/slideLayout322.xml"/><Relationship Id="rId6" Type="http://schemas.openxmlformats.org/officeDocument/2006/relationships/image" Target="../media/image54.png"/><Relationship Id="rId5" Type="http://schemas.openxmlformats.org/officeDocument/2006/relationships/image" Target="../media/image53.jpeg"/><Relationship Id="rId4" Type="http://schemas.openxmlformats.org/officeDocument/2006/relationships/image" Target="../media/image52.pn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7.jpeg"/><Relationship Id="rId3" Type="http://schemas.microsoft.com/office/2007/relationships/media" Target="../media/media7.mp4"/><Relationship Id="rId7" Type="http://schemas.openxmlformats.org/officeDocument/2006/relationships/image" Target="../media/image56.png"/><Relationship Id="rId2" Type="http://schemas.openxmlformats.org/officeDocument/2006/relationships/video" Target="../media/media6.mp4"/><Relationship Id="rId1" Type="http://schemas.microsoft.com/office/2007/relationships/media" Target="../media/media6.mp4"/><Relationship Id="rId6" Type="http://schemas.openxmlformats.org/officeDocument/2006/relationships/image" Target="../media/image55.png"/><Relationship Id="rId11" Type="http://schemas.openxmlformats.org/officeDocument/2006/relationships/image" Target="../media/image60.png"/><Relationship Id="rId5" Type="http://schemas.openxmlformats.org/officeDocument/2006/relationships/slideLayout" Target="../slideLayouts/slideLayout322.xml"/><Relationship Id="rId10" Type="http://schemas.openxmlformats.org/officeDocument/2006/relationships/image" Target="../media/image59.png"/><Relationship Id="rId4" Type="http://schemas.openxmlformats.org/officeDocument/2006/relationships/video" Target="../media/media7.mp4"/><Relationship Id="rId9" Type="http://schemas.openxmlformats.org/officeDocument/2006/relationships/image" Target="../media/image58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2" Type="http://schemas.openxmlformats.org/officeDocument/2006/relationships/video" Target="../media/media8.mp4"/><Relationship Id="rId1" Type="http://schemas.microsoft.com/office/2007/relationships/media" Target="../media/media8.mp4"/><Relationship Id="rId4" Type="http://schemas.openxmlformats.org/officeDocument/2006/relationships/image" Target="../media/image61.pn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22.xml"/><Relationship Id="rId5" Type="http://schemas.openxmlformats.org/officeDocument/2006/relationships/image" Target="../media/image64.png"/><Relationship Id="rId4" Type="http://schemas.openxmlformats.org/officeDocument/2006/relationships/image" Target="../media/image38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0.xml"/><Relationship Id="rId5" Type="http://schemas.openxmlformats.org/officeDocument/2006/relationships/image" Target="../media/image36.svg"/><Relationship Id="rId4" Type="http://schemas.openxmlformats.org/officeDocument/2006/relationships/image" Target="../media/image29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321.xml"/><Relationship Id="rId6" Type="http://schemas.openxmlformats.org/officeDocument/2006/relationships/image" Target="../media/image37.png"/><Relationship Id="rId5" Type="http://schemas.openxmlformats.org/officeDocument/2006/relationships/chart" Target="../charts/chart4.xml"/><Relationship Id="rId4" Type="http://schemas.openxmlformats.org/officeDocument/2006/relationships/chart" Target="../charts/chart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chart" Target="../charts/chart5.xml"/><Relationship Id="rId1" Type="http://schemas.openxmlformats.org/officeDocument/2006/relationships/slideLayout" Target="../slideLayouts/slideLayout321.xml"/><Relationship Id="rId5" Type="http://schemas.openxmlformats.org/officeDocument/2006/relationships/chart" Target="../charts/chart7.xml"/><Relationship Id="rId4" Type="http://schemas.openxmlformats.org/officeDocument/2006/relationships/chart" Target="../charts/char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21.xml"/><Relationship Id="rId4" Type="http://schemas.openxmlformats.org/officeDocument/2006/relationships/image" Target="../media/image38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chart" Target="../charts/chart8.xml"/><Relationship Id="rId1" Type="http://schemas.openxmlformats.org/officeDocument/2006/relationships/slideLayout" Target="../slideLayouts/slideLayout321.xml"/><Relationship Id="rId5" Type="http://schemas.openxmlformats.org/officeDocument/2006/relationships/image" Target="../media/image41.png"/><Relationship Id="rId4" Type="http://schemas.openxmlformats.org/officeDocument/2006/relationships/image" Target="../media/image40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2" Type="http://schemas.openxmlformats.org/officeDocument/2006/relationships/video" Target="../media/media1.mp4"/><Relationship Id="rId1" Type="http://schemas.microsoft.com/office/2007/relationships/media" Target="../media/media1.mp4"/><Relationship Id="rId6" Type="http://schemas.openxmlformats.org/officeDocument/2006/relationships/image" Target="../media/image42.png"/><Relationship Id="rId5" Type="http://schemas.openxmlformats.org/officeDocument/2006/relationships/image" Target="../media/image37.png"/><Relationship Id="rId4" Type="http://schemas.openxmlformats.org/officeDocument/2006/relationships/notesSlide" Target="../notesSlides/notesSlide4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2" Type="http://schemas.openxmlformats.org/officeDocument/2006/relationships/video" Target="../media/media2.mp4"/><Relationship Id="rId1" Type="http://schemas.microsoft.com/office/2007/relationships/media" Target="../media/media2.mp4"/><Relationship Id="rId5" Type="http://schemas.openxmlformats.org/officeDocument/2006/relationships/image" Target="../media/image37.png"/><Relationship Id="rId4" Type="http://schemas.openxmlformats.org/officeDocument/2006/relationships/image" Target="../media/image43.pn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2.xml"/><Relationship Id="rId2" Type="http://schemas.openxmlformats.org/officeDocument/2006/relationships/audio" Target="../media/media3.wav"/><Relationship Id="rId1" Type="http://schemas.microsoft.com/office/2007/relationships/media" Target="../media/media3.wav"/><Relationship Id="rId6" Type="http://schemas.openxmlformats.org/officeDocument/2006/relationships/image" Target="../media/image46.png"/><Relationship Id="rId5" Type="http://schemas.openxmlformats.org/officeDocument/2006/relationships/image" Target="../media/image45.png"/><Relationship Id="rId4" Type="http://schemas.openxmlformats.org/officeDocument/2006/relationships/image" Target="../media/image44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Marcador de número de diapositiva 2">
            <a:extLst>
              <a:ext uri="{FF2B5EF4-FFF2-40B4-BE49-F238E27FC236}">
                <a16:creationId xmlns:a16="http://schemas.microsoft.com/office/drawing/2014/main" id="{7BBA75A3-C8E6-C22E-8773-AF598804B1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7322826-FB53-4EA8-B4DD-786783600E55}" type="slidenum">
              <a:rPr kumimoji="0" lang="es-MX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s-MX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Poppins ExtraLight" pitchFamily="2" charset="77"/>
            </a:endParaRPr>
          </a:p>
        </p:txBody>
      </p:sp>
      <p:sp>
        <p:nvSpPr>
          <p:cNvPr id="22" name="Título 1">
            <a:extLst>
              <a:ext uri="{FF2B5EF4-FFF2-40B4-BE49-F238E27FC236}">
                <a16:creationId xmlns:a16="http://schemas.microsoft.com/office/drawing/2014/main" id="{D2031C72-5997-F6CD-53A8-3C111E62E0EE}"/>
              </a:ext>
            </a:extLst>
          </p:cNvPr>
          <p:cNvSpPr txBox="1">
            <a:spLocks/>
          </p:cNvSpPr>
          <p:nvPr/>
        </p:nvSpPr>
        <p:spPr>
          <a:xfrm>
            <a:off x="501347" y="296279"/>
            <a:ext cx="6708921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2400" b="1" dirty="0"/>
              <a:t>Panorama competitivo offline centro</a:t>
            </a:r>
            <a:br>
              <a:rPr lang="es-MX" b="1" dirty="0"/>
            </a:br>
            <a:r>
              <a:rPr lang="es-MX" sz="1600" dirty="0"/>
              <a:t>Ene-Sep 2024, cifras en dólares</a:t>
            </a:r>
            <a:endParaRPr lang="es-MX" b="1" dirty="0"/>
          </a:p>
        </p:txBody>
      </p:sp>
      <p:sp>
        <p:nvSpPr>
          <p:cNvPr id="38" name="Round Same-side Corner of Rectangle 7">
            <a:extLst>
              <a:ext uri="{FF2B5EF4-FFF2-40B4-BE49-F238E27FC236}">
                <a16:creationId xmlns:a16="http://schemas.microsoft.com/office/drawing/2014/main" id="{5A4E380B-F079-357E-BB91-445C2F7373D5}"/>
              </a:ext>
            </a:extLst>
          </p:cNvPr>
          <p:cNvSpPr/>
          <p:nvPr/>
        </p:nvSpPr>
        <p:spPr>
          <a:xfrm rot="10800000">
            <a:off x="10154862" y="-67235"/>
            <a:ext cx="1681453" cy="574871"/>
          </a:xfrm>
          <a:prstGeom prst="round2SameRect">
            <a:avLst>
              <a:gd name="adj1" fmla="val 24269"/>
              <a:gd name="adj2" fmla="val 0"/>
            </a:avLst>
          </a:prstGeom>
          <a:solidFill>
            <a:schemeClr val="bg2"/>
          </a:solidFill>
          <a:ln w="12700">
            <a:solidFill>
              <a:schemeClr val="accent5"/>
            </a:solidFill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39" name="Group 20">
            <a:extLst>
              <a:ext uri="{FF2B5EF4-FFF2-40B4-BE49-F238E27FC236}">
                <a16:creationId xmlns:a16="http://schemas.microsoft.com/office/drawing/2014/main" id="{3D3AD03D-B216-615F-846B-F8D692363692}"/>
              </a:ext>
            </a:extLst>
          </p:cNvPr>
          <p:cNvGrpSpPr/>
          <p:nvPr/>
        </p:nvGrpSpPr>
        <p:grpSpPr>
          <a:xfrm>
            <a:off x="10299629" y="124456"/>
            <a:ext cx="1446176" cy="307777"/>
            <a:chOff x="1940295" y="2086507"/>
            <a:chExt cx="3049919" cy="649088"/>
          </a:xfrm>
        </p:grpSpPr>
        <p:grpSp>
          <p:nvGrpSpPr>
            <p:cNvPr id="40" name="Group 21">
              <a:extLst>
                <a:ext uri="{FF2B5EF4-FFF2-40B4-BE49-F238E27FC236}">
                  <a16:creationId xmlns:a16="http://schemas.microsoft.com/office/drawing/2014/main" id="{8E565FF6-925B-214A-D413-8656BE89BC09}"/>
                </a:ext>
              </a:extLst>
            </p:cNvPr>
            <p:cNvGrpSpPr/>
            <p:nvPr/>
          </p:nvGrpSpPr>
          <p:grpSpPr>
            <a:xfrm>
              <a:off x="1940295" y="2112018"/>
              <a:ext cx="598067" cy="598067"/>
              <a:chOff x="8582452" y="2686901"/>
              <a:chExt cx="621171" cy="621171"/>
            </a:xfrm>
          </p:grpSpPr>
          <p:sp>
            <p:nvSpPr>
              <p:cNvPr id="42" name="Oval 33">
                <a:extLst>
                  <a:ext uri="{FF2B5EF4-FFF2-40B4-BE49-F238E27FC236}">
                    <a16:creationId xmlns:a16="http://schemas.microsoft.com/office/drawing/2014/main" id="{80C1517B-7584-14DB-D1C8-F54038200A04}"/>
                  </a:ext>
                </a:extLst>
              </p:cNvPr>
              <p:cNvSpPr/>
              <p:nvPr/>
            </p:nvSpPr>
            <p:spPr>
              <a:xfrm>
                <a:off x="8582452" y="2686901"/>
                <a:ext cx="621171" cy="621171"/>
              </a:xfrm>
              <a:prstGeom prst="ellipse">
                <a:avLst/>
              </a:prstGeom>
              <a:solidFill>
                <a:schemeClr val="accent5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pic>
            <p:nvPicPr>
              <p:cNvPr id="43" name="Graphic 37" descr="Triangle Ruler outline">
                <a:extLst>
                  <a:ext uri="{FF2B5EF4-FFF2-40B4-BE49-F238E27FC236}">
                    <a16:creationId xmlns:a16="http://schemas.microsoft.com/office/drawing/2014/main" id="{B86D7AC3-6A48-80DF-1751-2AC570062071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3">
                <a:extLst>
                  <a:ext uri="{96DAC541-7B7A-43D3-8B79-37D633B846F1}">
                    <asvg:svgBlip xmlns:asvg="http://schemas.microsoft.com/office/drawing/2016/SVG/main" r:embed="rId4"/>
                  </a:ext>
                </a:extLst>
              </a:blip>
              <a:stretch>
                <a:fillRect/>
              </a:stretch>
            </p:blipFill>
            <p:spPr>
              <a:xfrm>
                <a:off x="8732494" y="2780237"/>
                <a:ext cx="390382" cy="390382"/>
              </a:xfrm>
              <a:prstGeom prst="rect">
                <a:avLst/>
              </a:prstGeom>
            </p:spPr>
          </p:pic>
        </p:grpSp>
        <p:sp>
          <p:nvSpPr>
            <p:cNvPr id="41" name="TextBox 22">
              <a:extLst>
                <a:ext uri="{FF2B5EF4-FFF2-40B4-BE49-F238E27FC236}">
                  <a16:creationId xmlns:a16="http://schemas.microsoft.com/office/drawing/2014/main" id="{9DDCEBF0-92F6-024A-5BFD-EE2F2B588098}"/>
                </a:ext>
              </a:extLst>
            </p:cNvPr>
            <p:cNvSpPr txBox="1"/>
            <p:nvPr/>
          </p:nvSpPr>
          <p:spPr>
            <a:xfrm>
              <a:off x="2518275" y="2086507"/>
              <a:ext cx="2471939" cy="64908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1400" b="1" i="0" u="none" strike="noStrike" kern="0" cap="none" spc="0" normalizeH="0" baseline="0" noProof="0" err="1">
                  <a:ln>
                    <a:noFill/>
                  </a:ln>
                  <a:solidFill>
                    <a:srgbClr val="FC3D80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rPr>
                <a:t>Alineación</a:t>
              </a:r>
              <a:endParaRPr kumimoji="0" lang="en-GB" sz="1400" b="1" i="0" u="none" strike="noStrike" kern="0" cap="none" spc="0" normalizeH="0" baseline="0" noProof="0">
                <a:ln>
                  <a:noFill/>
                </a:ln>
                <a:solidFill>
                  <a:srgbClr val="FC3D80"/>
                </a:solidFill>
                <a:effectLst/>
                <a:uLnTx/>
                <a:uFillTx/>
                <a:latin typeface="Poppins-SemiBold"/>
                <a:ea typeface="+mn-ea"/>
                <a:cs typeface="+mn-cs"/>
              </a:endParaRPr>
            </a:p>
          </p:txBody>
        </p:sp>
      </p:grpSp>
      <p:pic>
        <p:nvPicPr>
          <p:cNvPr id="9" name="Picture 4" descr="COMTELCA » mapa colores..">
            <a:extLst>
              <a:ext uri="{FF2B5EF4-FFF2-40B4-BE49-F238E27FC236}">
                <a16:creationId xmlns:a16="http://schemas.microsoft.com/office/drawing/2014/main" id="{2F0BB9A5-B3BC-8B69-87A0-FDDC8125970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698556" y="598982"/>
            <a:ext cx="6820198" cy="488869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Título 1">
            <a:extLst>
              <a:ext uri="{FF2B5EF4-FFF2-40B4-BE49-F238E27FC236}">
                <a16:creationId xmlns:a16="http://schemas.microsoft.com/office/drawing/2014/main" id="{0CAD932D-1A6E-CCE5-0188-A498DF7001A1}"/>
              </a:ext>
            </a:extLst>
          </p:cNvPr>
          <p:cNvSpPr txBox="1">
            <a:spLocks/>
          </p:cNvSpPr>
          <p:nvPr/>
        </p:nvSpPr>
        <p:spPr>
          <a:xfrm>
            <a:off x="5693596" y="962503"/>
            <a:ext cx="2401093" cy="1561263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1200" b="1" dirty="0"/>
              <a:t>HN</a:t>
            </a:r>
            <a:endParaRPr lang="es-MX" sz="1000" dirty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 dirty="0"/>
              <a:t>$4.5M, 41%+ vs 2023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 dirty="0"/>
              <a:t>20 marcas activas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 dirty="0"/>
              <a:t>74% de inversión en TV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 dirty="0"/>
              <a:t>25% Radio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es-MX" sz="1000" dirty="0"/>
              <a:t>Principal competidor: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dirty="0"/>
              <a:t>Gripex Plus – 18% share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dirty="0"/>
              <a:t>73% TV abierta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dirty="0"/>
              <a:t>23% Radio</a:t>
            </a:r>
          </a:p>
          <a:p>
            <a:pPr marL="628650" lvl="1" indent="-171450">
              <a:buFont typeface="Arial" panose="020B0604020202020204" pitchFamily="34" charset="0"/>
              <a:buChar char="•"/>
            </a:pPr>
            <a:r>
              <a:rPr lang="es-MX" sz="1000" dirty="0"/>
              <a:t>4% OOH</a:t>
            </a:r>
            <a:endParaRPr lang="es-MX" sz="1400" dirty="0"/>
          </a:p>
        </p:txBody>
      </p:sp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75EBE643-2CC8-982D-89E4-33858C7D54C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982891" y="6296425"/>
            <a:ext cx="4495800" cy="421246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Poppins-Regular"/>
                <a:ea typeface="+mn-ea"/>
                <a:cs typeface="Poppins Light" pitchFamily="2" charset="77"/>
              </a:rPr>
              <a:t>Fuente: </a:t>
            </a:r>
            <a:r>
              <a:rPr kumimoji="0" lang="en-GB" sz="800" b="0" i="1" u="none" strike="noStrike" kern="1200" cap="none" spc="0" normalizeH="0" baseline="0" noProof="0" err="1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Poppins-Regular"/>
                <a:ea typeface="+mn-ea"/>
                <a:cs typeface="Poppins Light" pitchFamily="2" charset="77"/>
              </a:rPr>
              <a:t>Estudios</a:t>
            </a:r>
            <a:r>
              <a:rPr kumimoji="0" lang="en-GB" sz="800" b="0" i="1" u="none" strike="noStrike" kern="1200" cap="none" spc="0" normalizeH="0" baseline="0" noProof="0">
                <a:ln>
                  <a:noFill/>
                </a:ln>
                <a:solidFill>
                  <a:srgbClr val="404E5C"/>
                </a:solidFill>
                <a:effectLst/>
                <a:uLnTx/>
                <a:uFillTx/>
                <a:latin typeface="Poppins-Regular"/>
                <a:ea typeface="+mn-ea"/>
                <a:cs typeface="Poppins Light" pitchFamily="2" charset="77"/>
              </a:rPr>
              <a:t> locales</a:t>
            </a:r>
          </a:p>
        </p:txBody>
      </p:sp>
    </p:spTree>
    <p:extLst>
      <p:ext uri="{BB962C8B-B14F-4D97-AF65-F5344CB8AC3E}">
        <p14:creationId xmlns:p14="http://schemas.microsoft.com/office/powerpoint/2010/main" val="20260216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9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1" kern="0" dirty="0">
                <a:solidFill>
                  <a:srgbClr val="000000"/>
                </a:solidFill>
                <a:latin typeface="Poppins-Regular"/>
              </a:rPr>
              <a:t>Split de </a:t>
            </a:r>
            <a:r>
              <a:rPr lang="en-GB" sz="1200" b="1" kern="0" dirty="0" err="1">
                <a:solidFill>
                  <a:srgbClr val="000000"/>
                </a:solidFill>
                <a:latin typeface="Poppins-Regular"/>
              </a:rPr>
              <a:t>pantalla</a:t>
            </a:r>
            <a:r>
              <a:rPr lang="en-GB" sz="1200" b="1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b="1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b="1" kern="0" dirty="0">
                <a:solidFill>
                  <a:srgbClr val="000000"/>
                </a:solidFill>
                <a:latin typeface="Poppins-Regular"/>
              </a:rPr>
              <a:t> la </a:t>
            </a:r>
            <a:r>
              <a:rPr lang="en-GB" sz="1200" b="1" kern="0" dirty="0" err="1">
                <a:solidFill>
                  <a:srgbClr val="000000"/>
                </a:solidFill>
                <a:latin typeface="Poppins-Regular"/>
              </a:rPr>
              <a:t>r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vist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matutin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Las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Mañan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l 5, </a:t>
            </a:r>
            <a:endParaRPr kumimoji="0" lang="en-GB" sz="1200" b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16683" y="5267516"/>
            <a:ext cx="5538897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: 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LAS MAÑANAS DEL 5, es una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revista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matutina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que se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transmite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lunes a Viernes de 9 a 12 AM, con audiencia familiar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ero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con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nfoque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n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mujeres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25 a 55 </a:t>
            </a:r>
            <a:r>
              <a:rPr kumimoji="0" lang="en-US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años</a:t>
            </a:r>
            <a:r>
              <a:rPr kumimoji="0" lang="en-US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, amas de casa </a:t>
            </a:r>
            <a:endParaRPr kumimoji="0" lang="en-GB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7" name="TextBox 14">
            <a:extLst>
              <a:ext uri="{FF2B5EF4-FFF2-40B4-BE49-F238E27FC236}">
                <a16:creationId xmlns:a16="http://schemas.microsoft.com/office/drawing/2014/main" id="{48FB8EC9-B68F-BC4F-8B21-FDC09314DC15}"/>
              </a:ext>
            </a:extLst>
          </p:cNvPr>
          <p:cNvSpPr txBox="1"/>
          <p:nvPr/>
        </p:nvSpPr>
        <p:spPr>
          <a:xfrm>
            <a:off x="203645" y="2792515"/>
            <a:ext cx="2772307" cy="175432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Recomendación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l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roducto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a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través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un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formato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que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nos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ermite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aximizar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el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impacto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visual,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ostrando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los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beneficios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 y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recomendaciones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la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arca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,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ademå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, 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es una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strategia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visualmente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atráctiva</a:t>
            </a:r>
            <a:r>
              <a:rPr kumimoji="0" lang="en-GB" sz="1200" b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.</a:t>
            </a:r>
          </a:p>
        </p:txBody>
      </p:sp>
      <p:pic>
        <p:nvPicPr>
          <p:cNvPr id="24" name="Picture 7">
            <a:hlinkClick r:id="" action="ppaction://media"/>
            <a:extLst>
              <a:ext uri="{FF2B5EF4-FFF2-40B4-BE49-F238E27FC236}">
                <a16:creationId xmlns:a16="http://schemas.microsoft.com/office/drawing/2014/main" id="{E31E2C88-3476-1946-8491-2F47AD1ADFD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rcRect l="2061"/>
          <a:stretch>
            <a:fillRect/>
          </a:stretch>
        </p:blipFill>
        <p:spPr>
          <a:xfrm>
            <a:off x="6296313" y="1719153"/>
            <a:ext cx="5586142" cy="3228508"/>
          </a:xfrm>
          <a:prstGeom prst="rect">
            <a:avLst/>
          </a:prstGeom>
        </p:spPr>
      </p:pic>
      <p:sp>
        <p:nvSpPr>
          <p:cNvPr id="28" name="Title 6">
            <a:extLst>
              <a:ext uri="{FF2B5EF4-FFF2-40B4-BE49-F238E27FC236}">
                <a16:creationId xmlns:a16="http://schemas.microsoft.com/office/drawing/2014/main" id="{C31174B9-BB3D-6448-8B6D-34E3D8D3E649}"/>
              </a:ext>
            </a:extLst>
          </p:cNvPr>
          <p:cNvSpPr txBox="1">
            <a:spLocks/>
          </p:cNvSpPr>
          <p:nvPr/>
        </p:nvSpPr>
        <p:spPr>
          <a:xfrm>
            <a:off x="356047" y="718534"/>
            <a:ext cx="5039121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n-GB" dirty="0"/>
              <a:t>Televisión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Split de </a:t>
            </a:r>
            <a:r>
              <a:rPr lang="en-GB" dirty="0" err="1">
                <a:solidFill>
                  <a:schemeClr val="tx2"/>
                </a:solidFill>
              </a:rPr>
              <a:t>pantalla</a:t>
            </a:r>
            <a:endParaRPr lang="en-GB" dirty="0"/>
          </a:p>
        </p:txBody>
      </p:sp>
      <p:pic>
        <p:nvPicPr>
          <p:cNvPr id="29" name="Imagen 28">
            <a:extLst>
              <a:ext uri="{FF2B5EF4-FFF2-40B4-BE49-F238E27FC236}">
                <a16:creationId xmlns:a16="http://schemas.microsoft.com/office/drawing/2014/main" id="{D763FF96-D9A1-C741-A019-5717912E5D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7892" y="1131722"/>
            <a:ext cx="1305977" cy="76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54589313"/>
      </p:ext>
    </p:extLst>
  </p:cSld>
  <p:clrMapOvr>
    <a:masterClrMapping/>
  </p:clrMapOvr>
  <p:timing>
    <p:tnLst>
      <p:par>
        <p:cTn id="1" dur="indefinite" restart="never" nodeType="tmRoot">
          <p:childTnLst>
            <p:video>
              <p:cMediaNode vol="100000">
                <p:cTn id="2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b="1" kern="0" dirty="0" err="1">
                <a:solidFill>
                  <a:srgbClr val="000000"/>
                </a:solidFill>
                <a:latin typeface="Poppins-Regular"/>
              </a:rPr>
              <a:t>Cápsul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b="1" kern="0" dirty="0" err="1">
                <a:solidFill>
                  <a:srgbClr val="000000"/>
                </a:solidFill>
                <a:latin typeface="Poppins-Regular"/>
              </a:rPr>
              <a:t>Cipot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transmitirse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form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simultáne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os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anal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Televicentr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,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horari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prime (7:00 PM) y de lunes 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oming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, </a:t>
            </a:r>
            <a:endParaRPr kumimoji="0" lang="en-GB" sz="1200" b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16683" y="5267516"/>
            <a:ext cx="5691209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: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st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apsul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se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trasnmite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revio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 la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novela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Canal 5 y de Canal 7 por lo que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acapar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la audiencia Amas de Casa que se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restan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llevar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 l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am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 su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niño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. Se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ropone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ambiar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l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narrativ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l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histori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par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variar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respecto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 la que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hemo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ontado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.</a:t>
            </a: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7" name="TextBox 14">
            <a:extLst>
              <a:ext uri="{FF2B5EF4-FFF2-40B4-BE49-F238E27FC236}">
                <a16:creationId xmlns:a16="http://schemas.microsoft.com/office/drawing/2014/main" id="{48FB8EC9-B68F-BC4F-8B21-FDC09314DC15}"/>
              </a:ext>
            </a:extLst>
          </p:cNvPr>
          <p:cNvSpPr txBox="1"/>
          <p:nvPr/>
        </p:nvSpPr>
        <p:spPr>
          <a:xfrm>
            <a:off x="203645" y="2792515"/>
            <a:ext cx="2772307" cy="120032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s un storytelling que nos permite  conectar emocionalmente con los padres al mismo tiempo que es divertido y educativo para los niños.</a:t>
            </a:r>
            <a:endParaRPr kumimoji="0" lang="en-GB" sz="1200" b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8" name="Title 6">
            <a:extLst>
              <a:ext uri="{FF2B5EF4-FFF2-40B4-BE49-F238E27FC236}">
                <a16:creationId xmlns:a16="http://schemas.microsoft.com/office/drawing/2014/main" id="{C31174B9-BB3D-6448-8B6D-34E3D8D3E649}"/>
              </a:ext>
            </a:extLst>
          </p:cNvPr>
          <p:cNvSpPr txBox="1">
            <a:spLocks/>
          </p:cNvSpPr>
          <p:nvPr/>
        </p:nvSpPr>
        <p:spPr>
          <a:xfrm>
            <a:off x="356047" y="718534"/>
            <a:ext cx="5039121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n-GB" dirty="0"/>
              <a:t>Televisión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Capsulas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Cipotes</a:t>
            </a:r>
            <a:endParaRPr lang="en-GB" dirty="0">
              <a:solidFill>
                <a:schemeClr val="tx2"/>
              </a:solidFill>
            </a:endParaRPr>
          </a:p>
          <a:p>
            <a:r>
              <a:rPr lang="en-GB" sz="1400" b="1" dirty="0" err="1">
                <a:solidFill>
                  <a:srgbClr val="C00000"/>
                </a:solidFill>
              </a:rPr>
              <a:t>Bonificación</a:t>
            </a:r>
            <a:endParaRPr lang="en-GB" sz="1400" b="1" dirty="0">
              <a:solidFill>
                <a:srgbClr val="C00000"/>
              </a:solidFill>
            </a:endParaRPr>
          </a:p>
        </p:txBody>
      </p:sp>
      <p:pic>
        <p:nvPicPr>
          <p:cNvPr id="11" name="Los Cipotes Tambien Nuevo Comercial (1).mp4" descr="Los Cipotes Tambien Nuevo Comercial (1).mp4">
            <a:hlinkClick r:id="" action="ppaction://media"/>
            <a:extLst>
              <a:ext uri="{FF2B5EF4-FFF2-40B4-BE49-F238E27FC236}">
                <a16:creationId xmlns:a16="http://schemas.microsoft.com/office/drawing/2014/main" id="{65D27501-1F20-2C4A-BF31-E7A4A86BB92B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6071181" y="1736798"/>
            <a:ext cx="5893702" cy="3312619"/>
          </a:xfrm>
          <a:prstGeom prst="rect">
            <a:avLst/>
          </a:prstGeom>
        </p:spPr>
      </p:pic>
      <p:pic>
        <p:nvPicPr>
          <p:cNvPr id="29" name="Imagen 28">
            <a:extLst>
              <a:ext uri="{FF2B5EF4-FFF2-40B4-BE49-F238E27FC236}">
                <a16:creationId xmlns:a16="http://schemas.microsoft.com/office/drawing/2014/main" id="{D763FF96-D9A1-C741-A019-5717912E5DB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07892" y="1131722"/>
            <a:ext cx="1305977" cy="76127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7653291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45802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1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1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1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1"/>
                  </p:tgtEl>
                </p:cond>
              </p:nextCondLst>
            </p:seq>
          </p:childTnLst>
        </p:cTn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Radio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Segmento</a:t>
            </a:r>
            <a:r>
              <a:rPr lang="en-GB" dirty="0">
                <a:solidFill>
                  <a:schemeClr val="tx2"/>
                </a:solidFill>
              </a:rPr>
              <a:t>/</a:t>
            </a:r>
            <a:r>
              <a:rPr lang="en-GB" dirty="0" err="1">
                <a:solidFill>
                  <a:schemeClr val="tx2"/>
                </a:solidFill>
              </a:rPr>
              <a:t>patrocinio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458744"/>
            <a:ext cx="2360836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articipación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n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rograma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juveniles con un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lenguaje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oloquial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y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relajado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,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utilizando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escenario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su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vida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cotidiana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: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escuela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, Universidad,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trabajo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o el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deporte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, </a:t>
            </a:r>
            <a:r>
              <a:rPr lang="es-HN" sz="1000" dirty="0"/>
              <a:t>pero que debido a un resfriado o gripe, se sienten mal y no pueden cumplir con sus obligaciones y cómo TABCIN les ayuda a </a:t>
            </a:r>
            <a:r>
              <a:rPr lang="es-HN" sz="1000" b="1" dirty="0"/>
              <a:t>recuperarse rápidamente</a:t>
            </a: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493460"/>
            <a:ext cx="2391466" cy="240065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articipación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n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los morning show de las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misora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juveniles, que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no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ermita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hacer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ontenido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dinámico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 a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travé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encione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xpotánea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,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hablando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testimoniale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reale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con los </a:t>
            </a:r>
            <a:r>
              <a:rPr kumimoji="0" lang="en-GB" sz="10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jóvenes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:</a:t>
            </a: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000" dirty="0"/>
              <a:t>Ejemplo: "A mí me pasó el año pasado: estaba a mitad de los exámenes y no podía quedarme en casa con gripe. ¡Tomé Tabcin GyT] y me sentí mejor en horas! Así que, este año, ya estoy preparado."</a:t>
            </a:r>
            <a:r>
              <a:rPr kumimoji="0" lang="en-GB" sz="10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5620551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 :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misora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orientada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l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segmento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18 a 35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años</a:t>
            </a:r>
            <a:endParaRPr kumimoji="0" lang="en-GB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0" name="DEMO UN SIX PALAS 6">
            <a:hlinkClick r:id="" action="ppaction://media"/>
            <a:extLst>
              <a:ext uri="{FF2B5EF4-FFF2-40B4-BE49-F238E27FC236}">
                <a16:creationId xmlns:a16="http://schemas.microsoft.com/office/drawing/2014/main" id="{25B8E9D5-B91F-4F95-0C94-B77782FDB25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5"/>
          <a:stretch>
            <a:fillRect/>
          </a:stretch>
        </p:blipFill>
        <p:spPr>
          <a:xfrm>
            <a:off x="11116126" y="3434746"/>
            <a:ext cx="907615" cy="907615"/>
          </a:xfrm>
          <a:prstGeom prst="rect">
            <a:avLst/>
          </a:prstGeom>
        </p:spPr>
      </p:pic>
      <p:pic>
        <p:nvPicPr>
          <p:cNvPr id="33" name="Marcador de posición de imagen 32">
            <a:extLst>
              <a:ext uri="{FF2B5EF4-FFF2-40B4-BE49-F238E27FC236}">
                <a16:creationId xmlns:a16="http://schemas.microsoft.com/office/drawing/2014/main" id="{117942B7-5FB1-5640-914B-3E0FA8121AF4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178" b="1178"/>
          <a:stretch>
            <a:fillRect/>
          </a:stretch>
        </p:blipFill>
        <p:spPr>
          <a:ln>
            <a:solidFill>
              <a:schemeClr val="bg1">
                <a:lumMod val="75000"/>
              </a:schemeClr>
            </a:solidFill>
          </a:ln>
        </p:spPr>
      </p:pic>
      <p:pic>
        <p:nvPicPr>
          <p:cNvPr id="24" name="Picture 2" descr="Imagen relacionada">
            <a:extLst>
              <a:ext uri="{FF2B5EF4-FFF2-40B4-BE49-F238E27FC236}">
                <a16:creationId xmlns:a16="http://schemas.microsoft.com/office/drawing/2014/main" id="{35354C46-A1E8-3C44-A9E5-FF66D23B303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17674" y="435621"/>
            <a:ext cx="1294919" cy="630583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7" name="CuadroTexto 26">
            <a:extLst>
              <a:ext uri="{FF2B5EF4-FFF2-40B4-BE49-F238E27FC236}">
                <a16:creationId xmlns:a16="http://schemas.microsoft.com/office/drawing/2014/main" id="{CFCC1FC9-73C7-0D4B-B99E-F8BFA65624E2}"/>
              </a:ext>
            </a:extLst>
          </p:cNvPr>
          <p:cNvSpPr txBox="1"/>
          <p:nvPr/>
        </p:nvSpPr>
        <p:spPr>
          <a:xfrm>
            <a:off x="5615142" y="1036128"/>
            <a:ext cx="1099981" cy="276999"/>
          </a:xfrm>
          <a:prstGeom prst="rect">
            <a:avLst/>
          </a:prstGeom>
          <a:solidFill>
            <a:schemeClr val="bg1"/>
          </a:solidFill>
        </p:spPr>
        <p:txBody>
          <a:bodyPr wrap="none" rtlCol="0">
            <a:spAutoFit/>
          </a:bodyPr>
          <a:lstStyle/>
          <a:p>
            <a:r>
              <a:rPr lang="es-HN" sz="1200" b="1" dirty="0">
                <a:solidFill>
                  <a:srgbClr val="7030A0"/>
                </a:solidFill>
              </a:rPr>
              <a:t>GRIPE Y TOS</a:t>
            </a:r>
          </a:p>
        </p:txBody>
      </p:sp>
    </p:spTree>
    <p:extLst>
      <p:ext uri="{BB962C8B-B14F-4D97-AF65-F5344CB8AC3E}">
        <p14:creationId xmlns:p14="http://schemas.microsoft.com/office/powerpoint/2010/main" val="2652221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6709" fill="hold"/>
                                        <p:tgtEl>
                                          <p:spTgt spid="2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0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0"/>
                </p:tgtEl>
              </p:cMediaNode>
            </p:audio>
          </p:childTnLst>
        </p:cTn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 err="1"/>
              <a:t>Exteriores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Pantallas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digitale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759685"/>
            <a:ext cx="2360836" cy="156966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Apoy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con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xterior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situacion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y/o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eríod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alt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emand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roduct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:</a:t>
            </a: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Temporad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lluvia</a:t>
            </a:r>
            <a:endParaRPr lang="en-GB" sz="1200" kern="0" dirty="0">
              <a:solidFill>
                <a:srgbClr val="000000"/>
              </a:solidFill>
              <a:latin typeface="Poppins-Regular"/>
            </a:endParaRP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endParaRPr lang="en-GB" sz="1200" kern="0" dirty="0">
              <a:solidFill>
                <a:srgbClr val="000000"/>
              </a:solidFill>
              <a:latin typeface="Poppins-Regular"/>
            </a:endParaRP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endParaRPr lang="en-GB" sz="1200" kern="0" dirty="0" err="1">
              <a:solidFill>
                <a:srgbClr val="000000"/>
              </a:solidFill>
              <a:latin typeface="Poppins-Regular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ircuit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ntall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igital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sarel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o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uent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eatonal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, con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foque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ubicacion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ercan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universidad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y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entro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omerciale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6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ntall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por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cad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flight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5540493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 :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ropuesta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n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base 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alcance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(ma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ubicacione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)</a:t>
            </a: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050" name="Picture 2">
            <a:extLst>
              <a:ext uri="{FF2B5EF4-FFF2-40B4-BE49-F238E27FC236}">
                <a16:creationId xmlns:a16="http://schemas.microsoft.com/office/drawing/2014/main" id="{EDA132D0-5740-6D49-A8B3-5A2FA37C86E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58070" y="1391816"/>
            <a:ext cx="4879214" cy="43640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17096031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4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438809"/>
            <a:ext cx="5039121" cy="1088701"/>
          </a:xfrm>
        </p:spPr>
        <p:txBody>
          <a:bodyPr/>
          <a:lstStyle/>
          <a:p>
            <a:r>
              <a:rPr lang="en-GB" dirty="0"/>
              <a:t>Digital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Non-programmatic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354116" y="4626713"/>
            <a:ext cx="3519051" cy="1497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29592" y="4309606"/>
            <a:ext cx="18405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BANNERS WEB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467154" y="4758501"/>
            <a:ext cx="3406013" cy="135421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s-HN" sz="1400" b="0" i="0" u="none" strike="noStrike" kern="1200" cap="none" spc="0" normalizeH="0" baseline="0" noProof="0" dirty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imrpesiones de banners que se ejecutaran en </a:t>
            </a:r>
            <a:r>
              <a:rPr kumimoji="0" lang="es-HN" sz="1400" b="0" i="0" u="none" strike="noStrike" kern="1200" cap="none" spc="0" normalizeH="0" baseline="0" noProof="0" dirty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  <a:hlinkClick r:id="rId2"/>
              </a:rPr>
              <a:t>www.deportestvc</a:t>
            </a:r>
            <a:r>
              <a:rPr kumimoji="0" lang="es-HN" sz="1400" b="0" i="0" u="none" strike="noStrike" kern="1200" cap="none" spc="0" normalizeH="0" baseline="0" noProof="0" dirty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. buscando promover el clima patrocinando por tabcin previo a cada partido</a:t>
            </a:r>
            <a:endParaRPr lang="en-GB" sz="1200" kern="0" dirty="0">
              <a:solidFill>
                <a:srgbClr val="000000"/>
              </a:solidFill>
              <a:latin typeface="Poppins-Regular"/>
            </a:endParaRP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endParaRPr lang="en-GB" sz="1200" kern="0" dirty="0" err="1">
              <a:solidFill>
                <a:srgbClr val="000000"/>
              </a:solidFill>
              <a:latin typeface="Poppins-Regular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1138485" y="46138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4157593" y="4678938"/>
            <a:ext cx="3509814" cy="14074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4105358" y="4296688"/>
            <a:ext cx="184056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BANNERS WEB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4157592" y="4787694"/>
            <a:ext cx="3368582" cy="73866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HN" sz="1400" dirty="0">
                <a:solidFill>
                  <a:srgbClr val="0A0F0D"/>
                </a:solidFill>
                <a:latin typeface="Century Gothic"/>
              </a:rPr>
              <a:t>I</a:t>
            </a:r>
            <a:r>
              <a:rPr kumimoji="0" lang="es-HN" sz="1400" b="0" i="0" u="none" strike="noStrike" kern="1200" cap="none" spc="0" normalizeH="0" baseline="0" noProof="0" dirty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mpresiones de banners que de ejecutaran en los portales web de contenido noticioso de tvc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4748258" y="4626713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2" name="Rectangle 12">
            <a:extLst>
              <a:ext uri="{FF2B5EF4-FFF2-40B4-BE49-F238E27FC236}">
                <a16:creationId xmlns:a16="http://schemas.microsoft.com/office/drawing/2014/main" id="{B3067435-7219-D641-B5FB-0199E28E93C8}"/>
              </a:ext>
            </a:extLst>
          </p:cNvPr>
          <p:cNvSpPr/>
          <p:nvPr/>
        </p:nvSpPr>
        <p:spPr>
          <a:xfrm>
            <a:off x="8100606" y="4678938"/>
            <a:ext cx="3506416" cy="14074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3" name="TextBox 13">
            <a:extLst>
              <a:ext uri="{FF2B5EF4-FFF2-40B4-BE49-F238E27FC236}">
                <a16:creationId xmlns:a16="http://schemas.microsoft.com/office/drawing/2014/main" id="{7BBAF72C-4B7F-D341-8782-A220E0A6A72D}"/>
              </a:ext>
            </a:extLst>
          </p:cNvPr>
          <p:cNvSpPr txBox="1"/>
          <p:nvPr/>
        </p:nvSpPr>
        <p:spPr>
          <a:xfrm>
            <a:off x="8016641" y="4325362"/>
            <a:ext cx="2913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E-mail Mk</a:t>
            </a:r>
          </a:p>
        </p:txBody>
      </p:sp>
      <p:sp>
        <p:nvSpPr>
          <p:cNvPr id="34" name="TextBox 14">
            <a:extLst>
              <a:ext uri="{FF2B5EF4-FFF2-40B4-BE49-F238E27FC236}">
                <a16:creationId xmlns:a16="http://schemas.microsoft.com/office/drawing/2014/main" id="{B54D6867-BD8D-9B4A-AD8B-3F0A2796A6DD}"/>
              </a:ext>
            </a:extLst>
          </p:cNvPr>
          <p:cNvSpPr txBox="1"/>
          <p:nvPr/>
        </p:nvSpPr>
        <p:spPr>
          <a:xfrm>
            <a:off x="8196010" y="4787694"/>
            <a:ext cx="3252666" cy="93871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>
              <a:defRPr/>
            </a:pPr>
            <a:r>
              <a:rPr lang="es-HN" sz="1400" dirty="0">
                <a:solidFill>
                  <a:srgbClr val="0A0F0D"/>
                </a:solidFill>
                <a:latin typeface="Century Gothic"/>
              </a:rPr>
              <a:t>E</a:t>
            </a:r>
            <a:r>
              <a:rPr kumimoji="0" lang="es-HN" sz="1400" b="0" i="0" u="none" strike="noStrike" kern="1200" cap="none" spc="0" normalizeH="0" baseline="0" noProof="0" dirty="0">
                <a:ln>
                  <a:noFill/>
                </a:ln>
                <a:solidFill>
                  <a:srgbClr val="0A0F0D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-mail marketing a envirase a la base de datos de tunota.com (base 25,000)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3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35" name="Straight Connector 15">
            <a:extLst>
              <a:ext uri="{FF2B5EF4-FFF2-40B4-BE49-F238E27FC236}">
                <a16:creationId xmlns:a16="http://schemas.microsoft.com/office/drawing/2014/main" id="{5F3A2389-5582-E44C-AC6E-FF6887FAA9C0}"/>
              </a:ext>
            </a:extLst>
          </p:cNvPr>
          <p:cNvCxnSpPr/>
          <p:nvPr/>
        </p:nvCxnSpPr>
        <p:spPr>
          <a:xfrm>
            <a:off x="8889043" y="4666406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7" name="Imagen 26">
            <a:extLst>
              <a:ext uri="{FF2B5EF4-FFF2-40B4-BE49-F238E27FC236}">
                <a16:creationId xmlns:a16="http://schemas.microsoft.com/office/drawing/2014/main" id="{76470B8C-7962-B547-B21D-6F95D024D253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21922" y="1302143"/>
            <a:ext cx="1371600" cy="2819400"/>
          </a:xfrm>
          <a:prstGeom prst="rect">
            <a:avLst/>
          </a:prstGeom>
        </p:spPr>
      </p:pic>
      <p:grpSp>
        <p:nvGrpSpPr>
          <p:cNvPr id="28" name="Grupo 27">
            <a:extLst>
              <a:ext uri="{FF2B5EF4-FFF2-40B4-BE49-F238E27FC236}">
                <a16:creationId xmlns:a16="http://schemas.microsoft.com/office/drawing/2014/main" id="{C5982801-FC3A-3447-A202-664B6A1A4F1F}"/>
              </a:ext>
            </a:extLst>
          </p:cNvPr>
          <p:cNvGrpSpPr/>
          <p:nvPr/>
        </p:nvGrpSpPr>
        <p:grpSpPr>
          <a:xfrm>
            <a:off x="5043968" y="1324465"/>
            <a:ext cx="1371600" cy="2869420"/>
            <a:chOff x="5335356" y="1939551"/>
            <a:chExt cx="1371600" cy="2869420"/>
          </a:xfrm>
        </p:grpSpPr>
        <p:pic>
          <p:nvPicPr>
            <p:cNvPr id="29" name="Imagen 28">
              <a:extLst>
                <a:ext uri="{FF2B5EF4-FFF2-40B4-BE49-F238E27FC236}">
                  <a16:creationId xmlns:a16="http://schemas.microsoft.com/office/drawing/2014/main" id="{78DAF656-6FDD-BB47-9207-781E15B863C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335356" y="1939551"/>
              <a:ext cx="1371600" cy="2869420"/>
            </a:xfrm>
            <a:prstGeom prst="rect">
              <a:avLst/>
            </a:prstGeom>
          </p:spPr>
        </p:pic>
        <p:pic>
          <p:nvPicPr>
            <p:cNvPr id="30" name="Picture 4" descr="Tabcin">
              <a:extLst>
                <a:ext uri="{FF2B5EF4-FFF2-40B4-BE49-F238E27FC236}">
                  <a16:creationId xmlns:a16="http://schemas.microsoft.com/office/drawing/2014/main" id="{43786452-78C7-4648-AC9C-93CC3EEB00CF}"/>
                </a:ext>
              </a:extLst>
            </p:cNvPr>
            <p:cNvPicPr>
              <a:picLocks noChangeAspect="1" noChangeArrowheads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399001" y="2715997"/>
              <a:ext cx="1253590" cy="1299412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7" name="Imagen 16">
            <a:extLst>
              <a:ext uri="{FF2B5EF4-FFF2-40B4-BE49-F238E27FC236}">
                <a16:creationId xmlns:a16="http://schemas.microsoft.com/office/drawing/2014/main" id="{1D329793-224B-1148-8FAE-DC7B93E1D30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58094" y="1535897"/>
            <a:ext cx="3389448" cy="212958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1730196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438809"/>
            <a:ext cx="5039121" cy="1088701"/>
          </a:xfrm>
        </p:spPr>
        <p:txBody>
          <a:bodyPr>
            <a:normAutofit/>
          </a:bodyPr>
          <a:lstStyle/>
          <a:p>
            <a:r>
              <a:rPr lang="en-GB" dirty="0"/>
              <a:t>Digital</a:t>
            </a:r>
            <a:br>
              <a:rPr lang="en-GB" dirty="0"/>
            </a:br>
            <a:r>
              <a:rPr lang="en-GB" b="1" dirty="0">
                <a:solidFill>
                  <a:srgbClr val="00B0F0"/>
                </a:solidFill>
              </a:rPr>
              <a:t>Influencers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354116" y="4626713"/>
            <a:ext cx="3519051" cy="1497238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862862" y="3956030"/>
            <a:ext cx="1473480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>
                <a:solidFill>
                  <a:srgbClr val="00BCFF"/>
                </a:solidFill>
                <a:latin typeface="Poppins-SemiBold"/>
              </a:rPr>
              <a:t>JEAN PAUL 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1138485" y="46138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4157593" y="4678938"/>
            <a:ext cx="3509814" cy="140742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4682570" y="4014337"/>
            <a:ext cx="181011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LUCIA ZUNIGA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4748258" y="4626713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2" name="Rectangle 12">
            <a:extLst>
              <a:ext uri="{FF2B5EF4-FFF2-40B4-BE49-F238E27FC236}">
                <a16:creationId xmlns:a16="http://schemas.microsoft.com/office/drawing/2014/main" id="{B3067435-7219-D641-B5FB-0199E28E93C8}"/>
              </a:ext>
            </a:extLst>
          </p:cNvPr>
          <p:cNvSpPr/>
          <p:nvPr/>
        </p:nvSpPr>
        <p:spPr>
          <a:xfrm>
            <a:off x="8100606" y="4678938"/>
            <a:ext cx="3506416" cy="140743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3" name="TextBox 13">
            <a:extLst>
              <a:ext uri="{FF2B5EF4-FFF2-40B4-BE49-F238E27FC236}">
                <a16:creationId xmlns:a16="http://schemas.microsoft.com/office/drawing/2014/main" id="{7BBAF72C-4B7F-D341-8782-A220E0A6A72D}"/>
              </a:ext>
            </a:extLst>
          </p:cNvPr>
          <p:cNvSpPr txBox="1"/>
          <p:nvPr/>
        </p:nvSpPr>
        <p:spPr>
          <a:xfrm>
            <a:off x="8799229" y="4012691"/>
            <a:ext cx="291332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>
                <a:solidFill>
                  <a:srgbClr val="00BCFF"/>
                </a:solidFill>
                <a:latin typeface="Poppins-SemiBold"/>
              </a:rPr>
              <a:t>CAROLINA LANZA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cxnSp>
        <p:nvCxnSpPr>
          <p:cNvPr id="35" name="Straight Connector 15">
            <a:extLst>
              <a:ext uri="{FF2B5EF4-FFF2-40B4-BE49-F238E27FC236}">
                <a16:creationId xmlns:a16="http://schemas.microsoft.com/office/drawing/2014/main" id="{5F3A2389-5582-E44C-AC6E-FF6887FAA9C0}"/>
              </a:ext>
            </a:extLst>
          </p:cNvPr>
          <p:cNvCxnSpPr/>
          <p:nvPr/>
        </p:nvCxnSpPr>
        <p:spPr>
          <a:xfrm>
            <a:off x="8889043" y="4666406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5" name="Imagen 24">
            <a:extLst>
              <a:ext uri="{FF2B5EF4-FFF2-40B4-BE49-F238E27FC236}">
                <a16:creationId xmlns:a16="http://schemas.microsoft.com/office/drawing/2014/main" id="{6404D67A-3483-AE4B-855C-57FDC453C756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8456" y="4310330"/>
            <a:ext cx="2471846" cy="1729550"/>
          </a:xfrm>
          <a:prstGeom prst="rect">
            <a:avLst/>
          </a:prstGeom>
        </p:spPr>
      </p:pic>
      <p:pic>
        <p:nvPicPr>
          <p:cNvPr id="31" name="Imagen 30">
            <a:extLst>
              <a:ext uri="{FF2B5EF4-FFF2-40B4-BE49-F238E27FC236}">
                <a16:creationId xmlns:a16="http://schemas.microsoft.com/office/drawing/2014/main" id="{90C1F3DB-3155-604E-873A-AED7D5D1195F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292154" y="4325362"/>
            <a:ext cx="2473055" cy="1759355"/>
          </a:xfrm>
          <a:prstGeom prst="rect">
            <a:avLst/>
          </a:prstGeom>
        </p:spPr>
      </p:pic>
      <p:pic>
        <p:nvPicPr>
          <p:cNvPr id="3074" name="Picture 2" descr="Carolina Lanza publica intrigante mensaje en redes sociales ¿Deja la TV?">
            <a:extLst>
              <a:ext uri="{FF2B5EF4-FFF2-40B4-BE49-F238E27FC236}">
                <a16:creationId xmlns:a16="http://schemas.microsoft.com/office/drawing/2014/main" id="{0395E393-1415-2046-84CC-E55D3EB94B3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281280" y="1495543"/>
            <a:ext cx="2947341" cy="233110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Imagen 16">
            <a:extLst>
              <a:ext uri="{FF2B5EF4-FFF2-40B4-BE49-F238E27FC236}">
                <a16:creationId xmlns:a16="http://schemas.microsoft.com/office/drawing/2014/main" id="{A9150EBC-5377-0B47-A366-7394F665F48C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82527" y="4383669"/>
            <a:ext cx="2394304" cy="1852197"/>
          </a:xfrm>
          <a:prstGeom prst="rect">
            <a:avLst/>
          </a:prstGeom>
        </p:spPr>
      </p:pic>
      <p:pic>
        <p:nvPicPr>
          <p:cNvPr id="19" name="WhatsApp Video 2024-10-28 at 11.27.57 AM.mp4" descr="WhatsApp Video 2024-10-28 at 11.27.57 AM.mp4">
            <a:hlinkClick r:id="" action="ppaction://media"/>
            <a:extLst>
              <a:ext uri="{FF2B5EF4-FFF2-40B4-BE49-F238E27FC236}">
                <a16:creationId xmlns:a16="http://schemas.microsoft.com/office/drawing/2014/main" id="{7DE06123-AC13-0E4F-9972-BE5963620315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10"/>
          <a:stretch>
            <a:fillRect/>
          </a:stretch>
        </p:blipFill>
        <p:spPr>
          <a:xfrm>
            <a:off x="922291" y="1230779"/>
            <a:ext cx="1542416" cy="2725251"/>
          </a:xfrm>
          <a:prstGeom prst="rect">
            <a:avLst/>
          </a:prstGeom>
        </p:spPr>
      </p:pic>
      <p:pic>
        <p:nvPicPr>
          <p:cNvPr id="24" name="Tabcin #2 Lucía.mp4" descr="Tabcin #2 Lucía.mp4">
            <a:hlinkClick r:id="" action="ppaction://media"/>
            <a:extLst>
              <a:ext uri="{FF2B5EF4-FFF2-40B4-BE49-F238E27FC236}">
                <a16:creationId xmlns:a16="http://schemas.microsoft.com/office/drawing/2014/main" id="{A6B859D9-23E8-4041-82FB-62487798E409}"/>
              </a:ext>
            </a:extLst>
          </p:cNvPr>
          <p:cNvPicPr>
            <a:picLocks noChangeAspect="1"/>
          </p:cNvPicPr>
          <p:nvPr>
            <a:videoFile r:link="rId4"/>
            <p:extLst>
              <p:ext uri="{DAA4B4D4-6D71-4841-9C94-3DE7FCFB9230}">
                <p14:media xmlns:p14="http://schemas.microsoft.com/office/powerpoint/2010/main" r:embed="rId3"/>
              </p:ext>
            </p:extLst>
          </p:nvPr>
        </p:nvPicPr>
        <p:blipFill>
          <a:blip r:embed="rId11"/>
          <a:stretch>
            <a:fillRect/>
          </a:stretch>
        </p:blipFill>
        <p:spPr>
          <a:xfrm>
            <a:off x="4813471" y="1287527"/>
            <a:ext cx="1532954" cy="27252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466705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5240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10" dur="12027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 mute="1">
                <p:cTn id="11" fill="hold" display="0">
                  <p:stCondLst>
                    <p:cond delay="indefinite"/>
                  </p:stCondLst>
                </p:cTn>
                <p:tgtEl>
                  <p:spTgt spid="19"/>
                </p:tgtEl>
              </p:cMediaNode>
            </p:video>
            <p:seq concurrent="1" nextAc="seek">
              <p:cTn id="12" restart="whenNotActive" fill="hold" evtFilter="cancelBubble" nodeType="interactiveSeq">
                <p:stCondLst>
                  <p:cond evt="onClick" delay="0">
                    <p:tgtEl>
                      <p:spTgt spid="19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3" fill="hold">
                      <p:stCondLst>
                        <p:cond delay="0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6" dur="1" fill="hold"/>
                                        <p:tgtEl>
                                          <p:spTgt spid="19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9"/>
                  </p:tgtEl>
                </p:cond>
              </p:nextCondLst>
            </p:seq>
            <p:video>
              <p:cMediaNode vol="80000">
                <p:cTn id="17" fill="hold" display="0">
                  <p:stCondLst>
                    <p:cond delay="indefinite"/>
                  </p:stCondLst>
                </p:cTn>
                <p:tgtEl>
                  <p:spTgt spid="24"/>
                </p:tgtEl>
              </p:cMediaNode>
            </p:video>
            <p:seq concurrent="1" nextAc="seek">
              <p:cTn id="18" restart="whenNotActive" fill="hold" evtFilter="cancelBubble" nodeType="interactiveSeq">
                <p:stCondLst>
                  <p:cond evt="onClick" delay="0">
                    <p:tgtEl>
                      <p:spTgt spid="2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19" fill="hold">
                      <p:stCondLst>
                        <p:cond delay="0"/>
                      </p:stCondLst>
                      <p:childTnLst>
                        <p:par>
                          <p:cTn id="20" fill="hold">
                            <p:stCondLst>
                              <p:cond delay="0"/>
                            </p:stCondLst>
                            <p:childTnLst>
                              <p:par>
                                <p:cTn id="2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22" dur="1" fill="hold"/>
                                        <p:tgtEl>
                                          <p:spTgt spid="2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4"/>
                  </p:tgtEl>
                </p:cond>
              </p:nextCondLst>
            </p:seq>
          </p:childTnLst>
        </p:cTn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elevisión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Deportes</a:t>
            </a:r>
            <a:r>
              <a:rPr lang="en-GB" dirty="0">
                <a:solidFill>
                  <a:schemeClr val="tx2"/>
                </a:solidFill>
              </a:rPr>
              <a:t> : </a:t>
            </a:r>
            <a:r>
              <a:rPr lang="en-GB" dirty="0" err="1">
                <a:solidFill>
                  <a:schemeClr val="tx2"/>
                </a:solidFill>
              </a:rPr>
              <a:t>Patrocinio</a:t>
            </a:r>
            <a:r>
              <a:rPr lang="en-GB" dirty="0">
                <a:solidFill>
                  <a:schemeClr val="tx2"/>
                </a:solidFill>
              </a:rPr>
              <a:t> de </a:t>
            </a:r>
            <a:br>
              <a:rPr lang="en-GB" dirty="0">
                <a:solidFill>
                  <a:schemeClr val="tx2"/>
                </a:solidFill>
              </a:rPr>
            </a:br>
            <a:r>
              <a:rPr lang="en-GB" dirty="0">
                <a:solidFill>
                  <a:schemeClr val="tx2"/>
                </a:solidFill>
              </a:rPr>
              <a:t>“El </a:t>
            </a:r>
            <a:r>
              <a:rPr lang="en-GB" dirty="0" err="1">
                <a:solidFill>
                  <a:schemeClr val="tx2"/>
                </a:solidFill>
              </a:rPr>
              <a:t>estado</a:t>
            </a:r>
            <a:r>
              <a:rPr lang="en-GB" dirty="0">
                <a:solidFill>
                  <a:schemeClr val="tx2"/>
                </a:solidFill>
              </a:rPr>
              <a:t> del </a:t>
            </a:r>
            <a:r>
              <a:rPr lang="en-GB" dirty="0" err="1">
                <a:solidFill>
                  <a:schemeClr val="tx2"/>
                </a:solidFill>
              </a:rPr>
              <a:t>tiempo</a:t>
            </a:r>
            <a:r>
              <a:rPr lang="en-GB" dirty="0">
                <a:solidFill>
                  <a:schemeClr val="tx2"/>
                </a:solidFill>
              </a:rPr>
              <a:t>”</a:t>
            </a:r>
            <a:endParaRPr lang="en-GB" dirty="0"/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5" name="Rectangle 8">
            <a:extLst>
              <a:ext uri="{FF2B5EF4-FFF2-40B4-BE49-F238E27FC236}">
                <a16:creationId xmlns:a16="http://schemas.microsoft.com/office/drawing/2014/main" id="{9F812D36-660D-3948-AE3A-E3C7787DF59F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9">
            <a:extLst>
              <a:ext uri="{FF2B5EF4-FFF2-40B4-BE49-F238E27FC236}">
                <a16:creationId xmlns:a16="http://schemas.microsoft.com/office/drawing/2014/main" id="{696203A1-E870-E741-BE73-13AFE103967D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45878D89-268D-7343-98AB-94662D061024}"/>
              </a:ext>
            </a:extLst>
          </p:cNvPr>
          <p:cNvSpPr txBox="1"/>
          <p:nvPr/>
        </p:nvSpPr>
        <p:spPr>
          <a:xfrm>
            <a:off x="319303" y="2759685"/>
            <a:ext cx="2360836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Los partidos de la Liga Nacional atraen a una gran audiencia que incluye diferentes segmentos de edad y perfiles demográficos, lo que asegura que el mensaje llegue a un público amplio.</a:t>
            </a:r>
            <a:endParaRPr lang="en-GB" sz="1200" kern="0" dirty="0">
              <a:solidFill>
                <a:srgbClr val="000000"/>
              </a:solidFill>
              <a:latin typeface="Poppins-Regular"/>
            </a:endParaRPr>
          </a:p>
          <a:p>
            <a:pPr marL="628650" lvl="1" indent="-171450">
              <a:buFont typeface="Arial" panose="020B0604020202020204" pitchFamily="34" charset="0"/>
              <a:buChar char="•"/>
              <a:defRPr/>
            </a:pPr>
            <a:endParaRPr lang="en-GB" sz="1200" kern="0" dirty="0" err="1">
              <a:solidFill>
                <a:srgbClr val="000000"/>
              </a:solidFill>
              <a:latin typeface="Poppins-Regular"/>
            </a:endParaRPr>
          </a:p>
        </p:txBody>
      </p:sp>
      <p:cxnSp>
        <p:nvCxnSpPr>
          <p:cNvPr id="28" name="Straight Connector 11">
            <a:extLst>
              <a:ext uri="{FF2B5EF4-FFF2-40B4-BE49-F238E27FC236}">
                <a16:creationId xmlns:a16="http://schemas.microsoft.com/office/drawing/2014/main" id="{0F8970E5-4AC4-D249-AF79-D3F21495D4B6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Rectangle 12">
            <a:extLst>
              <a:ext uri="{FF2B5EF4-FFF2-40B4-BE49-F238E27FC236}">
                <a16:creationId xmlns:a16="http://schemas.microsoft.com/office/drawing/2014/main" id="{E492F82C-4F10-BA4B-B456-BF91025BDB1E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0" name="TextBox 13">
            <a:extLst>
              <a:ext uri="{FF2B5EF4-FFF2-40B4-BE49-F238E27FC236}">
                <a16:creationId xmlns:a16="http://schemas.microsoft.com/office/drawing/2014/main" id="{7F08BB01-DE96-A746-B3A5-E7C86E0D8B17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31" name="TextBox 14">
            <a:extLst>
              <a:ext uri="{FF2B5EF4-FFF2-40B4-BE49-F238E27FC236}">
                <a16:creationId xmlns:a16="http://schemas.microsoft.com/office/drawing/2014/main" id="{F664E121-5D6E-C448-90F9-23EA721BB026}"/>
              </a:ext>
            </a:extLst>
          </p:cNvPr>
          <p:cNvSpPr txBox="1"/>
          <p:nvPr/>
        </p:nvSpPr>
        <p:spPr>
          <a:xfrm>
            <a:off x="3296588" y="2759685"/>
            <a:ext cx="239146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es-HN" sz="1200" dirty="0"/>
              <a:t>Patrocinio del Estado del Tiempo previo a las transmisiones deportivas, lo que permite incorporar el mensaje de manera fluida y sin interrumpir la experiencia del espectador.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36" name="Straight Connector 15">
            <a:extLst>
              <a:ext uri="{FF2B5EF4-FFF2-40B4-BE49-F238E27FC236}">
                <a16:creationId xmlns:a16="http://schemas.microsoft.com/office/drawing/2014/main" id="{EBDDF43F-958F-944E-A089-A4158F0AF799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7" name="Rectangle 24">
            <a:extLst>
              <a:ext uri="{FF2B5EF4-FFF2-40B4-BE49-F238E27FC236}">
                <a16:creationId xmlns:a16="http://schemas.microsoft.com/office/drawing/2014/main" id="{9D0FAD43-CC46-1840-88E9-F2CC76A0A8A3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38" name="TextBox 25">
            <a:extLst>
              <a:ext uri="{FF2B5EF4-FFF2-40B4-BE49-F238E27FC236}">
                <a16:creationId xmlns:a16="http://schemas.microsoft.com/office/drawing/2014/main" id="{B407B1A2-BA17-E546-B519-FB5EBCC7A4CD}"/>
              </a:ext>
            </a:extLst>
          </p:cNvPr>
          <p:cNvSpPr txBox="1"/>
          <p:nvPr/>
        </p:nvSpPr>
        <p:spPr>
          <a:xfrm>
            <a:off x="347715" y="5285093"/>
            <a:ext cx="5540493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 : 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Lo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artido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Liga Nacional son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transmitido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xclusivamente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por TVC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Deporte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. 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Asegurar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la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articipación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los Encuentro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lásico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de Liga Nacional</a:t>
            </a:r>
          </a:p>
        </p:txBody>
      </p:sp>
      <p:sp>
        <p:nvSpPr>
          <p:cNvPr id="33" name="CuadroTexto 32">
            <a:extLst>
              <a:ext uri="{FF2B5EF4-FFF2-40B4-BE49-F238E27FC236}">
                <a16:creationId xmlns:a16="http://schemas.microsoft.com/office/drawing/2014/main" id="{DD70A25A-3B7D-5B40-8328-71281FC46FB5}"/>
              </a:ext>
            </a:extLst>
          </p:cNvPr>
          <p:cNvSpPr txBox="1"/>
          <p:nvPr/>
        </p:nvSpPr>
        <p:spPr>
          <a:xfrm>
            <a:off x="6214982" y="4970965"/>
            <a:ext cx="5804245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ES" sz="1200" b="1" dirty="0"/>
              <a:t>Mención Sugerida:</a:t>
            </a:r>
          </a:p>
          <a:p>
            <a:r>
              <a:rPr lang="es-ES" sz="1200" dirty="0"/>
              <a:t>Aunque el clima cambie, la pasión por la Liga Nacional sigue. </a:t>
            </a:r>
            <a:r>
              <a:rPr lang="es-ES" sz="1200" dirty="0" err="1"/>
              <a:t>Tabcin</a:t>
            </a:r>
            <a:r>
              <a:rPr lang="es-ES" sz="1200" dirty="0"/>
              <a:t> alivio rápido y efectivo de los síntomas de la gripe…</a:t>
            </a:r>
            <a:endParaRPr lang="es-HN" sz="1200" dirty="0"/>
          </a:p>
        </p:txBody>
      </p:sp>
      <p:pic>
        <p:nvPicPr>
          <p:cNvPr id="34" name="WhatsApp Video 2024-11-25 at 9.21.54 AM">
            <a:hlinkClick r:id="" action="ppaction://media"/>
            <a:extLst>
              <a:ext uri="{FF2B5EF4-FFF2-40B4-BE49-F238E27FC236}">
                <a16:creationId xmlns:a16="http://schemas.microsoft.com/office/drawing/2014/main" id="{C4F11B84-6E7B-374C-80E3-D708E85FE83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264546" y="1719153"/>
            <a:ext cx="5184947" cy="3106019"/>
          </a:xfrm>
          <a:prstGeom prst="rect">
            <a:avLst/>
          </a:prstGeom>
        </p:spPr>
      </p:pic>
      <p:sp>
        <p:nvSpPr>
          <p:cNvPr id="35" name="CuadroTexto 34">
            <a:extLst>
              <a:ext uri="{FF2B5EF4-FFF2-40B4-BE49-F238E27FC236}">
                <a16:creationId xmlns:a16="http://schemas.microsoft.com/office/drawing/2014/main" id="{ABAABEE0-A173-2E4A-9041-E53E5C715499}"/>
              </a:ext>
            </a:extLst>
          </p:cNvPr>
          <p:cNvSpPr txBox="1"/>
          <p:nvPr/>
        </p:nvSpPr>
        <p:spPr>
          <a:xfrm>
            <a:off x="185749" y="50805"/>
            <a:ext cx="29322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b="1" dirty="0">
                <a:solidFill>
                  <a:srgbClr val="C00000"/>
                </a:solidFill>
              </a:rPr>
              <a:t>FUERA DE PRESUPUESTO</a:t>
            </a:r>
          </a:p>
        </p:txBody>
      </p:sp>
    </p:spTree>
    <p:extLst>
      <p:ext uri="{BB962C8B-B14F-4D97-AF65-F5344CB8AC3E}">
        <p14:creationId xmlns:p14="http://schemas.microsoft.com/office/powerpoint/2010/main" val="202877419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34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6" dur="1" fill="hold"/>
                                        <p:tgtEl>
                                          <p:spTgt spid="34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34"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34"/>
                </p:tgtEl>
              </p:cMediaNode>
            </p:video>
          </p:childTnLst>
        </p:cTn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Imagen 8">
            <a:extLst>
              <a:ext uri="{FF2B5EF4-FFF2-40B4-BE49-F238E27FC236}">
                <a16:creationId xmlns:a16="http://schemas.microsoft.com/office/drawing/2014/main" id="{3BF35842-7F8C-2444-AFE0-044301B5697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26484" y="-31611"/>
            <a:ext cx="3631504" cy="6972488"/>
          </a:xfrm>
          <a:prstGeom prst="rect">
            <a:avLst/>
          </a:prstGeom>
        </p:spPr>
      </p:pic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6" y="566134"/>
            <a:ext cx="6838422" cy="1088701"/>
          </a:xfrm>
        </p:spPr>
        <p:txBody>
          <a:bodyPr/>
          <a:lstStyle/>
          <a:p>
            <a:r>
              <a:rPr lang="en-GB" dirty="0"/>
              <a:t>BTL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Vuelta </a:t>
            </a:r>
            <a:r>
              <a:rPr lang="en-GB" dirty="0" err="1">
                <a:solidFill>
                  <a:schemeClr val="tx2"/>
                </a:solidFill>
              </a:rPr>
              <a:t>ciclística</a:t>
            </a:r>
            <a:r>
              <a:rPr lang="en-GB" dirty="0">
                <a:solidFill>
                  <a:schemeClr val="tx2"/>
                </a:solidFill>
              </a:rPr>
              <a:t> infantile – El </a:t>
            </a:r>
            <a:r>
              <a:rPr lang="en-GB" dirty="0" err="1">
                <a:solidFill>
                  <a:schemeClr val="tx2"/>
                </a:solidFill>
              </a:rPr>
              <a:t>Heraldo</a:t>
            </a:r>
            <a:r>
              <a:rPr lang="en-GB" dirty="0">
                <a:solidFill>
                  <a:schemeClr val="tx2"/>
                </a:solidFill>
              </a:rPr>
              <a:t> </a:t>
            </a:r>
            <a:endParaRPr lang="en-GB" dirty="0"/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5" name="Rectangle 8">
            <a:extLst>
              <a:ext uri="{FF2B5EF4-FFF2-40B4-BE49-F238E27FC236}">
                <a16:creationId xmlns:a16="http://schemas.microsoft.com/office/drawing/2014/main" id="{9F812D36-660D-3948-AE3A-E3C7787DF59F}"/>
              </a:ext>
            </a:extLst>
          </p:cNvPr>
          <p:cNvSpPr/>
          <p:nvPr/>
        </p:nvSpPr>
        <p:spPr>
          <a:xfrm>
            <a:off x="343369" y="4543025"/>
            <a:ext cx="7775620" cy="154692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7" name="TextBox 10">
            <a:extLst>
              <a:ext uri="{FF2B5EF4-FFF2-40B4-BE49-F238E27FC236}">
                <a16:creationId xmlns:a16="http://schemas.microsoft.com/office/drawing/2014/main" id="{45878D89-268D-7343-98AB-94662D061024}"/>
              </a:ext>
            </a:extLst>
          </p:cNvPr>
          <p:cNvSpPr txBox="1"/>
          <p:nvPr/>
        </p:nvSpPr>
        <p:spPr>
          <a:xfrm>
            <a:off x="471436" y="5035985"/>
            <a:ext cx="7485031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s-HN" sz="1200" dirty="0">
                <a:effectLst/>
              </a:rPr>
              <a:t>Es un espacio pensado y creado para la familia. Participan aproximadamente 250 niños en 4 categorias : 2-4 años, 5- 6 años , 7-8 años y de 8-10 ˙años. </a:t>
            </a:r>
            <a:endParaRPr lang="es-HN" sz="1200" dirty="0"/>
          </a:p>
          <a:p>
            <a:r>
              <a:rPr lang="es-HN" sz="1200" dirty="0">
                <a:effectLst/>
              </a:rPr>
              <a:t>Se realiza en </a:t>
            </a:r>
            <a:r>
              <a:rPr lang="es-HN" sz="1200" dirty="0"/>
              <a:t>el estacionamiento de un centro comercial </a:t>
            </a:r>
            <a:r>
              <a:rPr lang="es-HN" sz="1200" dirty="0">
                <a:effectLst/>
              </a:rPr>
              <a:t> y se congregan aproxidamente 200 familas.  </a:t>
            </a:r>
          </a:p>
          <a:p>
            <a:r>
              <a:rPr lang="es-HN" sz="1200" kern="0" dirty="0">
                <a:solidFill>
                  <a:srgbClr val="000000"/>
                </a:solidFill>
              </a:rPr>
              <a:t>El evento se desarrolla en el mes de Octubre.</a:t>
            </a:r>
            <a:endParaRPr lang="en-GB" sz="1200" kern="0" dirty="0" err="1">
              <a:solidFill>
                <a:srgbClr val="000000"/>
              </a:solidFill>
            </a:endParaRPr>
          </a:p>
        </p:txBody>
      </p:sp>
      <p:sp>
        <p:nvSpPr>
          <p:cNvPr id="17" name="CuadroTexto 16">
            <a:extLst>
              <a:ext uri="{FF2B5EF4-FFF2-40B4-BE49-F238E27FC236}">
                <a16:creationId xmlns:a16="http://schemas.microsoft.com/office/drawing/2014/main" id="{16ABD94F-3858-FD4B-ABF3-2FC56EBC41F3}"/>
              </a:ext>
            </a:extLst>
          </p:cNvPr>
          <p:cNvSpPr txBox="1"/>
          <p:nvPr/>
        </p:nvSpPr>
        <p:spPr>
          <a:xfrm>
            <a:off x="185749" y="50805"/>
            <a:ext cx="2932213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b="1" dirty="0">
                <a:solidFill>
                  <a:srgbClr val="C00000"/>
                </a:solidFill>
              </a:rPr>
              <a:t>FUERA DE PRESUPUESTO</a:t>
            </a:r>
          </a:p>
        </p:txBody>
      </p:sp>
      <p:pic>
        <p:nvPicPr>
          <p:cNvPr id="12" name="Imagen 11">
            <a:extLst>
              <a:ext uri="{FF2B5EF4-FFF2-40B4-BE49-F238E27FC236}">
                <a16:creationId xmlns:a16="http://schemas.microsoft.com/office/drawing/2014/main" id="{C69BA7A2-8ECF-6B43-AA54-2591D83443E8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369" y="1461510"/>
            <a:ext cx="7775620" cy="2835035"/>
          </a:xfrm>
          <a:prstGeom prst="rect">
            <a:avLst/>
          </a:prstGeom>
        </p:spPr>
      </p:pic>
      <p:pic>
        <p:nvPicPr>
          <p:cNvPr id="33" name="Imagen 32">
            <a:extLst>
              <a:ext uri="{FF2B5EF4-FFF2-40B4-BE49-F238E27FC236}">
                <a16:creationId xmlns:a16="http://schemas.microsoft.com/office/drawing/2014/main" id="{9C096D8E-56DB-4140-B79D-56AC98B965A2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8834" y="365125"/>
            <a:ext cx="1305977" cy="761273"/>
          </a:xfrm>
          <a:prstGeom prst="rect">
            <a:avLst/>
          </a:prstGeom>
        </p:spPr>
      </p:pic>
      <p:pic>
        <p:nvPicPr>
          <p:cNvPr id="14" name="Imagen 13">
            <a:extLst>
              <a:ext uri="{FF2B5EF4-FFF2-40B4-BE49-F238E27FC236}">
                <a16:creationId xmlns:a16="http://schemas.microsoft.com/office/drawing/2014/main" id="{13F6D044-9FD4-9F45-A53B-C8709309E7C5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3369" y="4296545"/>
            <a:ext cx="1543050" cy="800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7349475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30" name="Picture 6" descr="Gripe = Influenza ¿Cuáles son sus síntomas y cómo es su prevención?">
            <a:extLst>
              <a:ext uri="{FF2B5EF4-FFF2-40B4-BE49-F238E27FC236}">
                <a16:creationId xmlns:a16="http://schemas.microsoft.com/office/drawing/2014/main" id="{5627A877-F095-6382-170F-897CCD86EFA6}"/>
              </a:ext>
            </a:extLst>
          </p:cNvPr>
          <p:cNvPicPr>
            <a:picLocks noGrp="1" noChangeAspect="1" noChangeArrowheads="1"/>
          </p:cNvPicPr>
          <p:nvPr>
            <p:ph type="pic" sz="quarter" idx="12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1895" r="20486" b="16818"/>
          <a:stretch/>
        </p:blipFill>
        <p:spPr bwMode="auto"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5" name="Text Placeholder 24">
            <a:extLst>
              <a:ext uri="{FF2B5EF4-FFF2-40B4-BE49-F238E27FC236}">
                <a16:creationId xmlns:a16="http://schemas.microsoft.com/office/drawing/2014/main" id="{B955D7F7-FCF9-A93A-3DC7-DD6304753EA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 lvl="0"/>
            <a:r>
              <a:rPr lang="en-GB" sz="4400" err="1"/>
              <a:t>Tabcin</a:t>
            </a:r>
            <a:endParaRPr lang="en-GB" sz="4400"/>
          </a:p>
          <a:p>
            <a:pPr lvl="0"/>
            <a:r>
              <a:rPr lang="en-GB" sz="4400"/>
              <a:t>Blueprint 2025</a:t>
            </a:r>
          </a:p>
          <a:p>
            <a:pPr lvl="0"/>
            <a:r>
              <a:rPr lang="en-GB" sz="4400"/>
              <a:t>Centro</a:t>
            </a:r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5282E3B8-42B8-09BF-771A-71CE3A56B115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46480" y="5250510"/>
            <a:ext cx="8774265" cy="1010472"/>
          </a:xfrm>
          <a:prstGeom prst="rect">
            <a:avLst/>
          </a:prstGeom>
        </p:spPr>
      </p:pic>
      <p:sp>
        <p:nvSpPr>
          <p:cNvPr id="2" name="Text Placeholder 24">
            <a:extLst>
              <a:ext uri="{FF2B5EF4-FFF2-40B4-BE49-F238E27FC236}">
                <a16:creationId xmlns:a16="http://schemas.microsoft.com/office/drawing/2014/main" id="{A8DD16A8-73D3-FF3C-DA00-5B7032DD8AB4}"/>
              </a:ext>
            </a:extLst>
          </p:cNvPr>
          <p:cNvSpPr txBox="1">
            <a:spLocks/>
          </p:cNvSpPr>
          <p:nvPr/>
        </p:nvSpPr>
        <p:spPr>
          <a:xfrm>
            <a:off x="880868" y="4653492"/>
            <a:ext cx="6574031" cy="748814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>
            <a:lvl1pPr marL="0" indent="0" algn="l" defTabSz="363702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None/>
              <a:defRPr sz="5400" b="0" i="0" kern="1200">
                <a:solidFill>
                  <a:schemeClr val="tx1"/>
                </a:solidFill>
                <a:latin typeface="Poppins ExtraLight" pitchFamily="2" charset="77"/>
                <a:ea typeface="+mn-ea"/>
                <a:cs typeface="Poppins ExtraLight" pitchFamily="2" charset="77"/>
              </a:defRPr>
            </a:lvl1pPr>
            <a:lvl2pPr marL="0" indent="0" algn="l" defTabSz="363702" rtl="0" eaLnBrk="1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Font typeface="Arial"/>
              <a:buNone/>
              <a:tabLst/>
              <a:defRPr sz="3600" b="0" i="0" kern="1200">
                <a:solidFill>
                  <a:schemeClr val="bg1"/>
                </a:solidFill>
                <a:latin typeface="+mj-lt"/>
                <a:ea typeface="+mn-ea"/>
                <a:cs typeface="Poppins Medium" pitchFamily="2" charset="77"/>
              </a:defRPr>
            </a:lvl2pPr>
            <a:lvl3pPr marL="0" indent="0" algn="r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None/>
              <a:tabLst/>
              <a:defRPr sz="1600" b="0" i="0" kern="1200">
                <a:solidFill>
                  <a:schemeClr val="bg1"/>
                </a:solidFill>
                <a:latin typeface="+mn-lt"/>
                <a:ea typeface="+mn-ea"/>
                <a:cs typeface="Poppins ExtraLight" pitchFamily="2" charset="77"/>
              </a:defRPr>
            </a:lvl3pPr>
            <a:lvl4pPr marL="680400" indent="-320400" algn="r" defTabSz="363702" rtl="0" eaLnBrk="1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600" b="0" i="0" kern="1200">
                <a:solidFill>
                  <a:schemeClr val="bg1"/>
                </a:solidFill>
                <a:latin typeface="+mn-lt"/>
                <a:ea typeface="+mn-ea"/>
                <a:cs typeface="Poppins ExtraLight" pitchFamily="2" charset="77"/>
              </a:defRPr>
            </a:lvl4pPr>
            <a:lvl5pPr marL="3055" indent="0" algn="r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None/>
              <a:tabLst/>
              <a:defRPr sz="1600" b="1" kern="1200">
                <a:solidFill>
                  <a:schemeClr val="bg1"/>
                </a:solidFill>
                <a:latin typeface="+mj-lt"/>
                <a:ea typeface="+mn-ea"/>
                <a:cs typeface="Poppins" pitchFamily="2" charset="77"/>
              </a:defRPr>
            </a:lvl5pPr>
            <a:lvl6pPr marL="1000180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182032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363883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545734" indent="-90926" algn="l" defTabSz="363702" rtl="0" eaLnBrk="1" latinLnBrk="0" hangingPunct="1">
              <a:lnSpc>
                <a:spcPct val="90000"/>
              </a:lnSpc>
              <a:spcBef>
                <a:spcPts val="199"/>
              </a:spcBef>
              <a:buFont typeface="Arial"/>
              <a:buChar char="•"/>
              <a:defRPr sz="716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l" defTabSz="363702" rtl="0" eaLnBrk="1" fontAlgn="auto" latinLnBrk="0" hangingPunct="1">
              <a:lnSpc>
                <a:spcPct val="8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280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SemiBold" pitchFamily="2" charset="77"/>
                <a:ea typeface="+mn-ea"/>
                <a:cs typeface="Poppins SemiBold" pitchFamily="2" charset="77"/>
              </a:rPr>
              <a:t>24/OCT/24</a:t>
            </a:r>
          </a:p>
        </p:txBody>
      </p:sp>
    </p:spTree>
    <p:extLst>
      <p:ext uri="{BB962C8B-B14F-4D97-AF65-F5344CB8AC3E}">
        <p14:creationId xmlns:p14="http://schemas.microsoft.com/office/powerpoint/2010/main" val="173393760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Table 9">
            <a:extLst>
              <a:ext uri="{FF2B5EF4-FFF2-40B4-BE49-F238E27FC236}">
                <a16:creationId xmlns:a16="http://schemas.microsoft.com/office/drawing/2014/main" id="{7BF2405B-EC5D-9848-BC2C-9A7148401FC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63809810"/>
              </p:ext>
            </p:extLst>
          </p:nvPr>
        </p:nvGraphicFramePr>
        <p:xfrm>
          <a:off x="6784067" y="1173029"/>
          <a:ext cx="3350337" cy="2418221"/>
        </p:xfrm>
        <a:graphic>
          <a:graphicData uri="http://schemas.openxmlformats.org/drawingml/2006/table">
            <a:tbl>
              <a:tblPr firstRow="1" bandRow="1"/>
              <a:tblGrid>
                <a:gridCol w="969966">
                  <a:extLst>
                    <a:ext uri="{9D8B030D-6E8A-4147-A177-3AD203B41FA5}">
                      <a16:colId xmlns:a16="http://schemas.microsoft.com/office/drawing/2014/main" val="2050887265"/>
                    </a:ext>
                  </a:extLst>
                </a:gridCol>
                <a:gridCol w="1192371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5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PRESUPUEST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0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23.5K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SEMANAS AL AIRE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12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TRPS (TV) AÑ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 0 TRPS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1375 TRPS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 err="1">
                          <a:solidFill>
                            <a:schemeClr val="bg1"/>
                          </a:solidFill>
                          <a:latin typeface="+mj-lt"/>
                        </a:rPr>
                        <a:t>TRp’s</a:t>
                      </a:r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 TV -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0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 458 TRP’S 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68238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just"/>
                      <a:endParaRPr lang="en-US" sz="1100" b="0" i="0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Inversió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se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destina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para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lanzamiento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durante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el primer trimester del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año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.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DCDB">
                        <a:lumMod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sp>
        <p:nvSpPr>
          <p:cNvPr id="2" name="Título 1">
            <a:extLst>
              <a:ext uri="{FF2B5EF4-FFF2-40B4-BE49-F238E27FC236}">
                <a16:creationId xmlns:a16="http://schemas.microsoft.com/office/drawing/2014/main" id="{E4A5E533-73B0-01FB-5329-10954E700F3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285679"/>
            <a:ext cx="10765383" cy="449810"/>
          </a:xfrm>
        </p:spPr>
        <p:txBody>
          <a:bodyPr/>
          <a:lstStyle/>
          <a:p>
            <a:r>
              <a:rPr lang="es-MX" sz="2400" b="1" dirty="0"/>
              <a:t>MEDIA MIX</a:t>
            </a:r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3</a:t>
            </a:fld>
            <a:endParaRPr lang="es-MX"/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graphicFrame>
        <p:nvGraphicFramePr>
          <p:cNvPr id="36" name="Table 9">
            <a:extLst>
              <a:ext uri="{FF2B5EF4-FFF2-40B4-BE49-F238E27FC236}">
                <a16:creationId xmlns:a16="http://schemas.microsoft.com/office/drawing/2014/main" id="{36B67939-6335-4CB1-8986-2381DBFDF4F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76084434"/>
              </p:ext>
            </p:extLst>
          </p:nvPr>
        </p:nvGraphicFramePr>
        <p:xfrm>
          <a:off x="1502083" y="1221557"/>
          <a:ext cx="3350337" cy="2589275"/>
        </p:xfrm>
        <a:graphic>
          <a:graphicData uri="http://schemas.openxmlformats.org/drawingml/2006/table">
            <a:tbl>
              <a:tblPr firstRow="1" bandRow="1"/>
              <a:tblGrid>
                <a:gridCol w="969966">
                  <a:extLst>
                    <a:ext uri="{9D8B030D-6E8A-4147-A177-3AD203B41FA5}">
                      <a16:colId xmlns:a16="http://schemas.microsoft.com/office/drawing/2014/main" val="2050887265"/>
                    </a:ext>
                  </a:extLst>
                </a:gridCol>
                <a:gridCol w="1192371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5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PRESUPUEST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168K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144K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SEMANAS AL AIRE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40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52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TRPS (TV) AÑ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12,286 TRPS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8 000  TRPS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 err="1">
                          <a:solidFill>
                            <a:schemeClr val="bg1"/>
                          </a:solidFill>
                          <a:latin typeface="+mj-lt"/>
                        </a:rPr>
                        <a:t>TRp’s</a:t>
                      </a:r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 TV -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1,228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667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68238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just"/>
                      <a:endParaRPr lang="en-US" sz="1100" b="0" i="0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14%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eno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de inversion.  Baja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presencia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OTV sin embargo se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xtiende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la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presncia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el medio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durante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el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año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,  e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incrementa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digital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DCDB">
                        <a:lumMod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sp>
        <p:nvSpPr>
          <p:cNvPr id="49" name="Flecha: a la derecha 48">
            <a:extLst>
              <a:ext uri="{FF2B5EF4-FFF2-40B4-BE49-F238E27FC236}">
                <a16:creationId xmlns:a16="http://schemas.microsoft.com/office/drawing/2014/main" id="{A57FFD86-814E-5B71-A2A9-3E3BE5DB282A}"/>
              </a:ext>
            </a:extLst>
          </p:cNvPr>
          <p:cNvSpPr/>
          <p:nvPr/>
        </p:nvSpPr>
        <p:spPr>
          <a:xfrm rot="5400000">
            <a:off x="5111830" y="2364405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65" name="Flecha: a la derecha 64">
            <a:extLst>
              <a:ext uri="{FF2B5EF4-FFF2-40B4-BE49-F238E27FC236}">
                <a16:creationId xmlns:a16="http://schemas.microsoft.com/office/drawing/2014/main" id="{49F30D70-317F-9C75-87CA-072AC36AB77C}"/>
              </a:ext>
            </a:extLst>
          </p:cNvPr>
          <p:cNvSpPr/>
          <p:nvPr/>
        </p:nvSpPr>
        <p:spPr>
          <a:xfrm rot="16200000">
            <a:off x="10405270" y="1668665"/>
            <a:ext cx="216000" cy="199234"/>
          </a:xfrm>
          <a:prstGeom prst="rightArrow">
            <a:avLst/>
          </a:prstGeom>
          <a:solidFill>
            <a:srgbClr val="89D328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graphicFrame>
        <p:nvGraphicFramePr>
          <p:cNvPr id="70" name="Gráfico 69">
            <a:extLst>
              <a:ext uri="{FF2B5EF4-FFF2-40B4-BE49-F238E27FC236}">
                <a16:creationId xmlns:a16="http://schemas.microsoft.com/office/drawing/2014/main" id="{93DCE385-0FAC-126D-B32E-A565FA3696F6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88186366"/>
              </p:ext>
            </p:extLst>
          </p:nvPr>
        </p:nvGraphicFramePr>
        <p:xfrm>
          <a:off x="2260814" y="3684106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71" name="Gráfico 70">
            <a:extLst>
              <a:ext uri="{FF2B5EF4-FFF2-40B4-BE49-F238E27FC236}">
                <a16:creationId xmlns:a16="http://schemas.microsoft.com/office/drawing/2014/main" id="{1F67187A-EB97-987B-BC4F-4611229D8B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841394731"/>
              </p:ext>
            </p:extLst>
          </p:nvPr>
        </p:nvGraphicFramePr>
        <p:xfrm>
          <a:off x="2260813" y="4181289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74" name="Gráfico 73">
            <a:extLst>
              <a:ext uri="{FF2B5EF4-FFF2-40B4-BE49-F238E27FC236}">
                <a16:creationId xmlns:a16="http://schemas.microsoft.com/office/drawing/2014/main" id="{47C042F5-8FE6-09BA-95FE-F290A74BCC7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255974987"/>
              </p:ext>
            </p:extLst>
          </p:nvPr>
        </p:nvGraphicFramePr>
        <p:xfrm>
          <a:off x="2260813" y="4708643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75" name="Gráfico 74">
            <a:extLst>
              <a:ext uri="{FF2B5EF4-FFF2-40B4-BE49-F238E27FC236}">
                <a16:creationId xmlns:a16="http://schemas.microsoft.com/office/drawing/2014/main" id="{213A03C8-BFFF-6A8D-C79A-A9B57A854872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48921868"/>
              </p:ext>
            </p:extLst>
          </p:nvPr>
        </p:nvGraphicFramePr>
        <p:xfrm>
          <a:off x="7623599" y="4708643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6" name="Título 1">
            <a:extLst>
              <a:ext uri="{FF2B5EF4-FFF2-40B4-BE49-F238E27FC236}">
                <a16:creationId xmlns:a16="http://schemas.microsoft.com/office/drawing/2014/main" id="{E0B82BDD-B582-86BD-D977-170B62363357}"/>
              </a:ext>
            </a:extLst>
          </p:cNvPr>
          <p:cNvSpPr txBox="1">
            <a:spLocks/>
          </p:cNvSpPr>
          <p:nvPr/>
        </p:nvSpPr>
        <p:spPr>
          <a:xfrm>
            <a:off x="1447044" y="3947039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  <p:sp>
        <p:nvSpPr>
          <p:cNvPr id="10" name="Título 1">
            <a:extLst>
              <a:ext uri="{FF2B5EF4-FFF2-40B4-BE49-F238E27FC236}">
                <a16:creationId xmlns:a16="http://schemas.microsoft.com/office/drawing/2014/main" id="{ABBD1F79-B3DA-2C6D-FE5D-EEC724BE2AF7}"/>
              </a:ext>
            </a:extLst>
          </p:cNvPr>
          <p:cNvSpPr txBox="1">
            <a:spLocks/>
          </p:cNvSpPr>
          <p:nvPr/>
        </p:nvSpPr>
        <p:spPr>
          <a:xfrm>
            <a:off x="6806689" y="3953438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F5247767-516A-FD4D-9794-E16325F7BE2D}"/>
              </a:ext>
            </a:extLst>
          </p:cNvPr>
          <p:cNvSpPr txBox="1"/>
          <p:nvPr/>
        </p:nvSpPr>
        <p:spPr>
          <a:xfrm>
            <a:off x="5230310" y="1708406"/>
            <a:ext cx="445956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14%-</a:t>
            </a:r>
          </a:p>
        </p:txBody>
      </p:sp>
      <p:sp>
        <p:nvSpPr>
          <p:cNvPr id="35" name="CuadroTexto 34">
            <a:extLst>
              <a:ext uri="{FF2B5EF4-FFF2-40B4-BE49-F238E27FC236}">
                <a16:creationId xmlns:a16="http://schemas.microsoft.com/office/drawing/2014/main" id="{2FD0A279-91F8-7B46-990F-5526CEBBB7BF}"/>
              </a:ext>
            </a:extLst>
          </p:cNvPr>
          <p:cNvSpPr txBox="1"/>
          <p:nvPr/>
        </p:nvSpPr>
        <p:spPr>
          <a:xfrm>
            <a:off x="5234805" y="2356022"/>
            <a:ext cx="47641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i="0" u="none" strike="noStrike" kern="1200" cap="none" spc="0" normalizeH="0" baseline="0" noProof="0" dirty="0">
                <a:ln>
                  <a:noFill/>
                </a:ln>
                <a:solidFill>
                  <a:schemeClr val="tx1">
                    <a:lumMod val="50000"/>
                    <a:lumOff val="50000"/>
                  </a:schemeClr>
                </a:solidFill>
                <a:effectLst/>
                <a:uLnTx/>
                <a:uFillTx/>
                <a:latin typeface="+mj-lt"/>
                <a:ea typeface="+mn-ea"/>
                <a:cs typeface="+mn-cs"/>
              </a:rPr>
              <a:t>35%</a:t>
            </a: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-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39" name="Flecha: a la derecha 48">
            <a:extLst>
              <a:ext uri="{FF2B5EF4-FFF2-40B4-BE49-F238E27FC236}">
                <a16:creationId xmlns:a16="http://schemas.microsoft.com/office/drawing/2014/main" id="{D2413811-9894-8C42-B031-8A7E9F12FFAB}"/>
              </a:ext>
            </a:extLst>
          </p:cNvPr>
          <p:cNvSpPr/>
          <p:nvPr/>
        </p:nvSpPr>
        <p:spPr>
          <a:xfrm rot="5400000">
            <a:off x="5111830" y="2704540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0" name="Flecha: a la derecha 48">
            <a:extLst>
              <a:ext uri="{FF2B5EF4-FFF2-40B4-BE49-F238E27FC236}">
                <a16:creationId xmlns:a16="http://schemas.microsoft.com/office/drawing/2014/main" id="{955C449A-3926-DF4F-AE1F-C8B4FDCA7061}"/>
              </a:ext>
            </a:extLst>
          </p:cNvPr>
          <p:cNvSpPr/>
          <p:nvPr/>
        </p:nvSpPr>
        <p:spPr>
          <a:xfrm rot="16200000">
            <a:off x="10412610" y="2317283"/>
            <a:ext cx="216000" cy="199234"/>
          </a:xfrm>
          <a:prstGeom prst="rightArrow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44" name="Flecha: a la derecha 48">
            <a:extLst>
              <a:ext uri="{FF2B5EF4-FFF2-40B4-BE49-F238E27FC236}">
                <a16:creationId xmlns:a16="http://schemas.microsoft.com/office/drawing/2014/main" id="{6B778FDA-7FF0-6F48-8F6A-B4FBC4F1AD70}"/>
              </a:ext>
            </a:extLst>
          </p:cNvPr>
          <p:cNvSpPr/>
          <p:nvPr/>
        </p:nvSpPr>
        <p:spPr>
          <a:xfrm rot="16200000">
            <a:off x="10412610" y="2657418"/>
            <a:ext cx="216000" cy="199234"/>
          </a:xfrm>
          <a:prstGeom prst="rightArrow">
            <a:avLst/>
          </a:prstGeom>
          <a:solidFill>
            <a:schemeClr val="accent2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34" name="Flecha: a la derecha 48">
            <a:extLst>
              <a:ext uri="{FF2B5EF4-FFF2-40B4-BE49-F238E27FC236}">
                <a16:creationId xmlns:a16="http://schemas.microsoft.com/office/drawing/2014/main" id="{26B11AA3-E325-0F49-ADA2-9B62ECEAFD8E}"/>
              </a:ext>
            </a:extLst>
          </p:cNvPr>
          <p:cNvSpPr/>
          <p:nvPr/>
        </p:nvSpPr>
        <p:spPr>
          <a:xfrm rot="5400000">
            <a:off x="5111830" y="1665905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pic>
        <p:nvPicPr>
          <p:cNvPr id="45" name="Picture 2" descr="Imagen relacionada">
            <a:extLst>
              <a:ext uri="{FF2B5EF4-FFF2-40B4-BE49-F238E27FC236}">
                <a16:creationId xmlns:a16="http://schemas.microsoft.com/office/drawing/2014/main" id="{F8B4DD52-1CA9-3D4B-B1FE-3D9FE07A13F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410136" y="789141"/>
            <a:ext cx="1294919" cy="630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CuadroTexto 11">
            <a:extLst>
              <a:ext uri="{FF2B5EF4-FFF2-40B4-BE49-F238E27FC236}">
                <a16:creationId xmlns:a16="http://schemas.microsoft.com/office/drawing/2014/main" id="{85C0EF1C-E795-1442-82B1-B7DC9D777BF1}"/>
              </a:ext>
            </a:extLst>
          </p:cNvPr>
          <p:cNvSpPr txBox="1"/>
          <p:nvPr/>
        </p:nvSpPr>
        <p:spPr>
          <a:xfrm>
            <a:off x="1410136" y="1327247"/>
            <a:ext cx="10999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200" b="1" dirty="0">
                <a:solidFill>
                  <a:srgbClr val="7030A0"/>
                </a:solidFill>
              </a:rPr>
              <a:t>GRIPE Y TOS</a:t>
            </a:r>
          </a:p>
        </p:txBody>
      </p:sp>
      <p:pic>
        <p:nvPicPr>
          <p:cNvPr id="46" name="Picture 2" descr="Imagen relacionada">
            <a:extLst>
              <a:ext uri="{FF2B5EF4-FFF2-40B4-BE49-F238E27FC236}">
                <a16:creationId xmlns:a16="http://schemas.microsoft.com/office/drawing/2014/main" id="{9219ABDE-4F36-3048-9B4A-2946BF2EE12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2122" y="788953"/>
            <a:ext cx="1294919" cy="630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8" name="CuadroTexto 47">
            <a:extLst>
              <a:ext uri="{FF2B5EF4-FFF2-40B4-BE49-F238E27FC236}">
                <a16:creationId xmlns:a16="http://schemas.microsoft.com/office/drawing/2014/main" id="{467E2625-9838-C448-B297-7AF1F195B6C5}"/>
              </a:ext>
            </a:extLst>
          </p:cNvPr>
          <p:cNvSpPr txBox="1"/>
          <p:nvPr/>
        </p:nvSpPr>
        <p:spPr>
          <a:xfrm>
            <a:off x="6692122" y="1327059"/>
            <a:ext cx="1099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HN" sz="1200" b="1" dirty="0">
                <a:solidFill>
                  <a:srgbClr val="00B050"/>
                </a:solidFill>
              </a:rPr>
              <a:t>NOCHE</a:t>
            </a:r>
          </a:p>
        </p:txBody>
      </p:sp>
    </p:spTree>
    <p:extLst>
      <p:ext uri="{BB962C8B-B14F-4D97-AF65-F5344CB8AC3E}">
        <p14:creationId xmlns:p14="http://schemas.microsoft.com/office/powerpoint/2010/main" val="1745276599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4</a:t>
            </a:fld>
            <a:endParaRPr lang="es-MX"/>
          </a:p>
        </p:txBody>
      </p:sp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graphicFrame>
        <p:nvGraphicFramePr>
          <p:cNvPr id="11" name="Gráfico 10">
            <a:extLst>
              <a:ext uri="{FF2B5EF4-FFF2-40B4-BE49-F238E27FC236}">
                <a16:creationId xmlns:a16="http://schemas.microsoft.com/office/drawing/2014/main" id="{44ADFA1A-A9B8-D4C4-63A2-31B609956460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70093135"/>
              </p:ext>
            </p:extLst>
          </p:nvPr>
        </p:nvGraphicFramePr>
        <p:xfrm>
          <a:off x="4235736" y="3742000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16" name="Título 1">
            <a:extLst>
              <a:ext uri="{FF2B5EF4-FFF2-40B4-BE49-F238E27FC236}">
                <a16:creationId xmlns:a16="http://schemas.microsoft.com/office/drawing/2014/main" id="{E1111BD8-31F3-EFA4-A82E-12991C4781D9}"/>
              </a:ext>
            </a:extLst>
          </p:cNvPr>
          <p:cNvSpPr txBox="1">
            <a:spLocks/>
          </p:cNvSpPr>
          <p:nvPr/>
        </p:nvSpPr>
        <p:spPr>
          <a:xfrm>
            <a:off x="3418825" y="4011332"/>
            <a:ext cx="963669" cy="1088701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pPr algn="ctr"/>
            <a:r>
              <a:rPr lang="es-MX" sz="1800" dirty="0"/>
              <a:t>2023</a:t>
            </a:r>
          </a:p>
          <a:p>
            <a:pPr algn="ctr"/>
            <a:endParaRPr lang="es-MX" sz="1800" dirty="0"/>
          </a:p>
          <a:p>
            <a:pPr algn="ctr"/>
            <a:r>
              <a:rPr lang="es-MX" sz="1800" dirty="0"/>
              <a:t>2024</a:t>
            </a:r>
          </a:p>
          <a:p>
            <a:pPr algn="ctr"/>
            <a:endParaRPr lang="es-MX" sz="1800" dirty="0"/>
          </a:p>
          <a:p>
            <a:pPr algn="ctr"/>
            <a:r>
              <a:rPr lang="es-MX" sz="1800" b="1" dirty="0"/>
              <a:t>2025</a:t>
            </a:r>
          </a:p>
        </p:txBody>
      </p:sp>
      <p:sp>
        <p:nvSpPr>
          <p:cNvPr id="19" name="Título 1">
            <a:extLst>
              <a:ext uri="{FF2B5EF4-FFF2-40B4-BE49-F238E27FC236}">
                <a16:creationId xmlns:a16="http://schemas.microsoft.com/office/drawing/2014/main" id="{548B925F-3DC2-A0D0-5E2D-59518564299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3309" y="285679"/>
            <a:ext cx="10765383" cy="449810"/>
          </a:xfrm>
        </p:spPr>
        <p:txBody>
          <a:bodyPr/>
          <a:lstStyle/>
          <a:p>
            <a:r>
              <a:rPr lang="es-MX" sz="2400" b="1" dirty="0"/>
              <a:t>MEDIA MIX</a:t>
            </a:r>
          </a:p>
        </p:txBody>
      </p:sp>
      <p:graphicFrame>
        <p:nvGraphicFramePr>
          <p:cNvPr id="36" name="Table 9">
            <a:extLst>
              <a:ext uri="{FF2B5EF4-FFF2-40B4-BE49-F238E27FC236}">
                <a16:creationId xmlns:a16="http://schemas.microsoft.com/office/drawing/2014/main" id="{762A2992-3B45-0846-B0C3-6C35DEA661F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76739194"/>
              </p:ext>
            </p:extLst>
          </p:nvPr>
        </p:nvGraphicFramePr>
        <p:xfrm>
          <a:off x="3454421" y="1286910"/>
          <a:ext cx="3350337" cy="2418221"/>
        </p:xfrm>
        <a:graphic>
          <a:graphicData uri="http://schemas.openxmlformats.org/drawingml/2006/table">
            <a:tbl>
              <a:tblPr firstRow="1" bandRow="1"/>
              <a:tblGrid>
                <a:gridCol w="969966">
                  <a:extLst>
                    <a:ext uri="{9D8B030D-6E8A-4147-A177-3AD203B41FA5}">
                      <a16:colId xmlns:a16="http://schemas.microsoft.com/office/drawing/2014/main" val="2050887265"/>
                    </a:ext>
                  </a:extLst>
                </a:gridCol>
                <a:gridCol w="1192371">
                  <a:extLst>
                    <a:ext uri="{9D8B030D-6E8A-4147-A177-3AD203B41FA5}">
                      <a16:colId xmlns:a16="http://schemas.microsoft.com/office/drawing/2014/main" val="777586562"/>
                    </a:ext>
                  </a:extLst>
                </a:gridCol>
                <a:gridCol w="1188000">
                  <a:extLst>
                    <a:ext uri="{9D8B030D-6E8A-4147-A177-3AD203B41FA5}">
                      <a16:colId xmlns:a16="http://schemas.microsoft.com/office/drawing/2014/main" val="990893922"/>
                    </a:ext>
                  </a:extLst>
                </a:gridCol>
              </a:tblGrid>
              <a:tr h="37757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endParaRPr lang="en-US" sz="1000" b="1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4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400" b="1" dirty="0">
                          <a:solidFill>
                            <a:schemeClr val="bg1"/>
                          </a:solidFill>
                          <a:latin typeface="+mj-lt"/>
                        </a:rPr>
                        <a:t>2025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89D328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2078752"/>
                  </a:ext>
                </a:extLst>
              </a:tr>
              <a:tr h="3524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PRESUPUEST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26K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+mj-lt"/>
                          <a:ea typeface="+mn-ea"/>
                          <a:cs typeface="+mn-cs"/>
                        </a:rPr>
                        <a:t>$ 16K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0152379"/>
                  </a:ext>
                </a:extLst>
              </a:tr>
              <a:tr h="314325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SEMANAS AL AIRE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20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12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110735"/>
                  </a:ext>
                </a:extLst>
              </a:tr>
              <a:tr h="38100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TRPS (TV) AÑO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3,853 TRPS</a:t>
                      </a:r>
                      <a:endParaRPr lang="en-US" sz="1000" b="1" i="0" u="none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0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entury Gothic" panose="020F0302020204030204"/>
                          <a:ea typeface="+mn-ea"/>
                          <a:cs typeface="+mn-cs"/>
                        </a:rPr>
                        <a:t>2,000 TRPS</a:t>
                      </a:r>
                      <a:endParaRPr lang="en-US" sz="1000" b="1" i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2508896"/>
                  </a:ext>
                </a:extLst>
              </a:tr>
              <a:tr h="289560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l"/>
                      <a:r>
                        <a:rPr lang="en-US" sz="800" b="0" i="0" u="none" dirty="0" err="1">
                          <a:solidFill>
                            <a:schemeClr val="bg1"/>
                          </a:solidFill>
                          <a:latin typeface="+mj-lt"/>
                        </a:rPr>
                        <a:t>TRp’s</a:t>
                      </a:r>
                      <a:r>
                        <a:rPr lang="en-US" sz="800" b="0" i="0" u="none" dirty="0">
                          <a:solidFill>
                            <a:schemeClr val="bg1"/>
                          </a:solidFill>
                          <a:latin typeface="+mj-lt"/>
                        </a:rPr>
                        <a:t> TV - ME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C6F6E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>
                          <a:solidFill>
                            <a:schemeClr val="tx1"/>
                          </a:solidFill>
                          <a:latin typeface="+mj-lt"/>
                        </a:rPr>
                        <a:t>770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00" b="1" i="0" dirty="0">
                          <a:solidFill>
                            <a:schemeClr val="tx1"/>
                          </a:solidFill>
                          <a:latin typeface="+mj-lt"/>
                        </a:rPr>
                        <a:t>666 TRP’S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88796899"/>
                  </a:ext>
                </a:extLst>
              </a:tr>
              <a:tr h="68238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just"/>
                      <a:endParaRPr lang="en-US" sz="1100" b="0" i="0" u="none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FFFF"/>
                    </a:solidFill>
                  </a:tcPr>
                </a:tc>
                <a:tc gridSpan="2"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/>
                        </a:defRPr>
                      </a:lvl9pPr>
                    </a:lstStyle>
                    <a:p>
                      <a:pPr algn="ctr"/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Concentració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en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TV, con el 38% </a:t>
                      </a:r>
                      <a:r>
                        <a:rPr lang="en-US" sz="1000" b="1" i="0" u="none" dirty="0" err="1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menos</a:t>
                      </a:r>
                      <a:r>
                        <a:rPr lang="en-US" sz="1000" b="1" i="0" u="none" dirty="0">
                          <a:solidFill>
                            <a:schemeClr val="tx2">
                              <a:lumMod val="50000"/>
                            </a:schemeClr>
                          </a:solidFill>
                          <a:latin typeface="+mj-lt"/>
                        </a:rPr>
                        <a:t> de inversion </a:t>
                      </a:r>
                    </a:p>
                  </a:txBody>
                  <a:tcPr anchor="ctr">
                    <a:lnL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3DCDB">
                        <a:lumMod val="90000"/>
                      </a:srgb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000" b="1" i="0">
                        <a:solidFill>
                          <a:schemeClr val="tx2">
                            <a:lumMod val="50000"/>
                          </a:schemeClr>
                        </a:solidFill>
                        <a:latin typeface="+mj-lt"/>
                      </a:endParaRPr>
                    </a:p>
                  </a:txBody>
                  <a:tcPr anchor="ctr">
                    <a:lnL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57150" cap="flat" cmpd="sng" algn="ctr">
                      <a:solidFill>
                        <a:schemeClr val="accent5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8681149"/>
                  </a:ext>
                </a:extLst>
              </a:tr>
            </a:tbl>
          </a:graphicData>
        </a:graphic>
      </p:graphicFrame>
      <p:sp>
        <p:nvSpPr>
          <p:cNvPr id="20" name="Flecha: a la derecha 64">
            <a:extLst>
              <a:ext uri="{FF2B5EF4-FFF2-40B4-BE49-F238E27FC236}">
                <a16:creationId xmlns:a16="http://schemas.microsoft.com/office/drawing/2014/main" id="{784F5596-2C3F-8643-BB31-CB33F20CD1B4}"/>
              </a:ext>
            </a:extLst>
          </p:cNvPr>
          <p:cNvSpPr/>
          <p:nvPr/>
        </p:nvSpPr>
        <p:spPr>
          <a:xfrm rot="5400000">
            <a:off x="7038819" y="1737633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  <p:sp>
        <p:nvSpPr>
          <p:cNvPr id="21" name="CuadroTexto 20">
            <a:extLst>
              <a:ext uri="{FF2B5EF4-FFF2-40B4-BE49-F238E27FC236}">
                <a16:creationId xmlns:a16="http://schemas.microsoft.com/office/drawing/2014/main" id="{3352788D-B049-C046-B025-B54DFBCD99FB}"/>
              </a:ext>
            </a:extLst>
          </p:cNvPr>
          <p:cNvSpPr txBox="1"/>
          <p:nvPr/>
        </p:nvSpPr>
        <p:spPr>
          <a:xfrm>
            <a:off x="7161685" y="1775405"/>
            <a:ext cx="476413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38%-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sp>
        <p:nvSpPr>
          <p:cNvPr id="25" name="CuadroTexto 24">
            <a:extLst>
              <a:ext uri="{FF2B5EF4-FFF2-40B4-BE49-F238E27FC236}">
                <a16:creationId xmlns:a16="http://schemas.microsoft.com/office/drawing/2014/main" id="{BC06EF4F-9B1D-BC4E-AF84-1941ACD9C795}"/>
              </a:ext>
            </a:extLst>
          </p:cNvPr>
          <p:cNvSpPr txBox="1"/>
          <p:nvPr/>
        </p:nvSpPr>
        <p:spPr>
          <a:xfrm>
            <a:off x="7113704" y="2483394"/>
            <a:ext cx="481222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900" dirty="0">
                <a:solidFill>
                  <a:schemeClr val="tx1">
                    <a:lumMod val="50000"/>
                    <a:lumOff val="50000"/>
                  </a:schemeClr>
                </a:solidFill>
                <a:latin typeface="+mj-lt"/>
              </a:rPr>
              <a:t>40%-</a:t>
            </a:r>
            <a:endParaRPr kumimoji="0" lang="en-US" sz="900" i="0" u="none" strike="noStrike" kern="1200" cap="none" spc="0" normalizeH="0" baseline="0" noProof="0" dirty="0">
              <a:ln>
                <a:noFill/>
              </a:ln>
              <a:solidFill>
                <a:schemeClr val="tx1">
                  <a:lumMod val="50000"/>
                  <a:lumOff val="50000"/>
                </a:schemeClr>
              </a:solidFill>
              <a:effectLst/>
              <a:uLnTx/>
              <a:uFillTx/>
              <a:latin typeface="+mj-lt"/>
              <a:ea typeface="+mn-ea"/>
              <a:cs typeface="+mn-cs"/>
            </a:endParaRPr>
          </a:p>
        </p:txBody>
      </p:sp>
      <p:pic>
        <p:nvPicPr>
          <p:cNvPr id="6" name="Imagen 5">
            <a:extLst>
              <a:ext uri="{FF2B5EF4-FFF2-40B4-BE49-F238E27FC236}">
                <a16:creationId xmlns:a16="http://schemas.microsoft.com/office/drawing/2014/main" id="{E4933253-0D4C-CE4A-B8FC-DC7AFD5E982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54421" y="1041357"/>
            <a:ext cx="1033217" cy="602277"/>
          </a:xfrm>
          <a:prstGeom prst="rect">
            <a:avLst/>
          </a:prstGeom>
        </p:spPr>
      </p:pic>
      <p:graphicFrame>
        <p:nvGraphicFramePr>
          <p:cNvPr id="23" name="Gráfico 22">
            <a:extLst>
              <a:ext uri="{FF2B5EF4-FFF2-40B4-BE49-F238E27FC236}">
                <a16:creationId xmlns:a16="http://schemas.microsoft.com/office/drawing/2014/main" id="{914B0203-D218-9B4B-BEB8-5D96AE9AEBC9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24597676"/>
              </p:ext>
            </p:extLst>
          </p:nvPr>
        </p:nvGraphicFramePr>
        <p:xfrm>
          <a:off x="4230409" y="4236064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graphicFrame>
        <p:nvGraphicFramePr>
          <p:cNvPr id="26" name="Gráfico 25">
            <a:extLst>
              <a:ext uri="{FF2B5EF4-FFF2-40B4-BE49-F238E27FC236}">
                <a16:creationId xmlns:a16="http://schemas.microsoft.com/office/drawing/2014/main" id="{62FCAA40-B98B-3B40-BE4C-9D85E05DE5C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3758794848"/>
              </p:ext>
            </p:extLst>
          </p:nvPr>
        </p:nvGraphicFramePr>
        <p:xfrm>
          <a:off x="4268128" y="4735100"/>
          <a:ext cx="3582649" cy="84586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5"/>
          </a:graphicData>
        </a:graphic>
      </p:graphicFrame>
      <p:sp>
        <p:nvSpPr>
          <p:cNvPr id="22" name="Flecha: a la derecha 64">
            <a:extLst>
              <a:ext uri="{FF2B5EF4-FFF2-40B4-BE49-F238E27FC236}">
                <a16:creationId xmlns:a16="http://schemas.microsoft.com/office/drawing/2014/main" id="{4C67E9DE-E2A3-F445-967C-92D6F1FBE501}"/>
              </a:ext>
            </a:extLst>
          </p:cNvPr>
          <p:cNvSpPr/>
          <p:nvPr/>
        </p:nvSpPr>
        <p:spPr>
          <a:xfrm rot="5400000">
            <a:off x="7036843" y="2531298"/>
            <a:ext cx="216000" cy="199234"/>
          </a:xfrm>
          <a:prstGeom prst="rightArrow">
            <a:avLst/>
          </a:prstGeom>
          <a:solidFill>
            <a:srgbClr val="C000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rIns="72000" rtlCol="0" anchor="ctr"/>
          <a:lstStyle/>
          <a:p>
            <a:pPr marL="0" marR="0" lvl="0" indent="0" algn="ctr" defTabSz="91440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s-MX" sz="1200" b="0" i="0" u="none" strike="noStrike" kern="0" cap="none" spc="0" normalizeH="0" baseline="0" noProof="0">
              <a:ln>
                <a:noFill/>
              </a:ln>
              <a:solidFill>
                <a:srgbClr val="0A0F0D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45669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3D4CF1FB-577E-3769-937C-3560D6C4F5E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r>
              <a:rPr lang="es-MX"/>
              <a:t>Source: </a:t>
            </a:r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F1753DCA-508A-DBBB-5C45-78DDBF4F97A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67322826-FB53-4EA8-B4DD-786783600E55}" type="slidenum">
              <a:rPr lang="es-MX" smtClean="0"/>
              <a:t>5</a:t>
            </a:fld>
            <a:endParaRPr lang="es-MX"/>
          </a:p>
        </p:txBody>
      </p:sp>
      <p:graphicFrame>
        <p:nvGraphicFramePr>
          <p:cNvPr id="6" name="Table 13">
            <a:extLst>
              <a:ext uri="{FF2B5EF4-FFF2-40B4-BE49-F238E27FC236}">
                <a16:creationId xmlns:a16="http://schemas.microsoft.com/office/drawing/2014/main" id="{72ACAE7D-EB5C-3806-0FEB-520B74A092B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035698550"/>
              </p:ext>
            </p:extLst>
          </p:nvPr>
        </p:nvGraphicFramePr>
        <p:xfrm>
          <a:off x="785261" y="1164073"/>
          <a:ext cx="10863132" cy="4391469"/>
        </p:xfrm>
        <a:graphic>
          <a:graphicData uri="http://schemas.openxmlformats.org/drawingml/2006/table">
            <a:tbl>
              <a:tblPr/>
              <a:tblGrid>
                <a:gridCol w="997488">
                  <a:extLst>
                    <a:ext uri="{9D8B030D-6E8A-4147-A177-3AD203B41FA5}">
                      <a16:colId xmlns:a16="http://schemas.microsoft.com/office/drawing/2014/main" val="11592146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0266068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56868226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17527129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279566585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2553792247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50529919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96335095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725381274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149623756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005630223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544124801"/>
                    </a:ext>
                  </a:extLst>
                </a:gridCol>
                <a:gridCol w="822137">
                  <a:extLst>
                    <a:ext uri="{9D8B030D-6E8A-4147-A177-3AD203B41FA5}">
                      <a16:colId xmlns:a16="http://schemas.microsoft.com/office/drawing/2014/main" val="3636195450"/>
                    </a:ext>
                  </a:extLst>
                </a:gridCol>
              </a:tblGrid>
              <a:tr h="422261"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>
                      <a:noFill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A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FEB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PR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MAY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N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JUL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UG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EP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OCT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V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EC</a:t>
                      </a:r>
                    </a:p>
                  </a:txBody>
                  <a:tcPr marL="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EDE9E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2967622"/>
                  </a:ext>
                </a:extLst>
              </a:tr>
              <a:tr h="41237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Abiert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58728675"/>
                  </a:ext>
                </a:extLst>
              </a:tr>
              <a:tr h="454329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TV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aga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71204072"/>
                  </a:ext>
                </a:extLst>
              </a:tr>
              <a:tr h="438663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Radio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774529460"/>
                  </a:ext>
                </a:extLst>
              </a:tr>
              <a:tr h="371820">
                <a:tc>
                  <a:txBody>
                    <a:bodyPr/>
                    <a:lstStyle/>
                    <a:p>
                      <a:pPr marL="0" marR="0" lvl="0" indent="0" algn="ctr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 </a:t>
                      </a:r>
                      <a:r>
                        <a:rPr lang="en-GB" sz="900" b="1" i="0" u="none" strike="noStrike" dirty="0" err="1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Exteriores</a:t>
                      </a:r>
                      <a:endParaRPr lang="en-GB" sz="900" b="1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15102206"/>
                  </a:ext>
                </a:extLst>
              </a:tr>
              <a:tr h="45354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Non-Programmati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58684724"/>
                  </a:ext>
                </a:extLst>
              </a:tr>
              <a:tr h="423000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Social Media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 dirty="0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GB" sz="1600" b="0" i="0" u="none" strike="noStrike">
                          <a:solidFill>
                            <a:schemeClr val="tx1"/>
                          </a:solidFill>
                          <a:effectLst/>
                          <a:latin typeface="Arial" panose="020B0604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 dirty="0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b"/>
                      <a:endParaRPr lang="en-GB" sz="1600" b="0" i="0" u="none" strike="noStrike">
                        <a:solidFill>
                          <a:schemeClr val="tx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808542301"/>
                  </a:ext>
                </a:extLst>
              </a:tr>
              <a:tr h="469996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Programmatic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0" i="0" u="none" strike="noStrike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 </a:t>
                      </a: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487830940"/>
                  </a:ext>
                </a:extLst>
              </a:tr>
              <a:tr h="50681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Influencers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04184236"/>
                  </a:ext>
                </a:extLst>
              </a:tr>
              <a:tr h="438664">
                <a:tc>
                  <a:txBody>
                    <a:bodyPr/>
                    <a:lstStyle/>
                    <a:p>
                      <a:pPr algn="ctr" rtl="0" fontAlgn="b"/>
                      <a:r>
                        <a:rPr lang="en-GB" sz="900" b="1" i="0" u="none" strike="noStrike" dirty="0">
                          <a:solidFill>
                            <a:schemeClr val="tx1"/>
                          </a:solidFill>
                          <a:effectLst/>
                          <a:latin typeface="Century Gothic" panose="020B0502020202020204" pitchFamily="34" charset="0"/>
                        </a:rPr>
                        <a:t>Digital Local</a:t>
                      </a:r>
                    </a:p>
                  </a:txBody>
                  <a:tcPr marL="0" marR="0" marT="0" marB="0" anchor="ctr">
                    <a:lnL>
                      <a:noFill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/>
                    <a:p>
                      <a:pPr algn="ctr" rtl="0" fontAlgn="b"/>
                      <a:endParaRPr lang="en-GB" sz="900" b="0" i="0" u="none" strike="noStrike" dirty="0">
                        <a:solidFill>
                          <a:schemeClr val="tx1"/>
                        </a:solidFill>
                        <a:effectLst/>
                        <a:latin typeface="Century Gothic" panose="020B0502020202020204" pitchFamily="34" charset="0"/>
                      </a:endParaRPr>
                    </a:p>
                  </a:txBody>
                  <a:tcPr marL="0" marR="0" marT="0" marB="0"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rgbClr val="9D9F9E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98408837"/>
                  </a:ext>
                </a:extLst>
              </a:tr>
            </a:tbl>
          </a:graphicData>
        </a:graphic>
      </p:graphicFrame>
      <p:grpSp>
        <p:nvGrpSpPr>
          <p:cNvPr id="3" name="Group 13">
            <a:extLst>
              <a:ext uri="{FF2B5EF4-FFF2-40B4-BE49-F238E27FC236}">
                <a16:creationId xmlns:a16="http://schemas.microsoft.com/office/drawing/2014/main" id="{EDA390A9-5BF1-E5B8-4013-4D05732B89AB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7" name="Round Same-side Corner of Rectangle 28">
              <a:extLst>
                <a:ext uri="{FF2B5EF4-FFF2-40B4-BE49-F238E27FC236}">
                  <a16:creationId xmlns:a16="http://schemas.microsoft.com/office/drawing/2014/main" id="{92743B5A-E28D-4D5C-D47C-8844ED523BC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EEAAFD05-242F-9A13-483B-C7253B6E9209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1" name="Oval 44">
                <a:extLst>
                  <a:ext uri="{FF2B5EF4-FFF2-40B4-BE49-F238E27FC236}">
                    <a16:creationId xmlns:a16="http://schemas.microsoft.com/office/drawing/2014/main" id="{126C6110-934A-1E72-9031-7AA1D98B59E9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2" name="TextBox 45">
                <a:extLst>
                  <a:ext uri="{FF2B5EF4-FFF2-40B4-BE49-F238E27FC236}">
                    <a16:creationId xmlns:a16="http://schemas.microsoft.com/office/drawing/2014/main" id="{B3BCE8D0-CE54-9030-6080-C93072324CB4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9" name="Google Shape;1194;p40">
              <a:extLst>
                <a:ext uri="{FF2B5EF4-FFF2-40B4-BE49-F238E27FC236}">
                  <a16:creationId xmlns:a16="http://schemas.microsoft.com/office/drawing/2014/main" id="{C4048FF6-1C72-EE31-FA93-E27A16498334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36" name="Título 1">
            <a:extLst>
              <a:ext uri="{FF2B5EF4-FFF2-40B4-BE49-F238E27FC236}">
                <a16:creationId xmlns:a16="http://schemas.microsoft.com/office/drawing/2014/main" id="{47294257-304D-4435-AF07-AA55E223E265}"/>
              </a:ext>
            </a:extLst>
          </p:cNvPr>
          <p:cNvSpPr txBox="1">
            <a:spLocks/>
          </p:cNvSpPr>
          <p:nvPr/>
        </p:nvSpPr>
        <p:spPr>
          <a:xfrm>
            <a:off x="713310" y="285679"/>
            <a:ext cx="3184134" cy="44981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lvl1pPr algn="l" defTabSz="363702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800" b="0" i="0" kern="1200" cap="none" baseline="0">
                <a:solidFill>
                  <a:schemeClr val="tx1"/>
                </a:solidFill>
                <a:latin typeface="+mj-lt"/>
                <a:ea typeface="Poppins Medium" pitchFamily="2" charset="77"/>
                <a:cs typeface="Poppins Medium" pitchFamily="2" charset="77"/>
              </a:defRPr>
            </a:lvl1pPr>
          </a:lstStyle>
          <a:p>
            <a:r>
              <a:rPr lang="es-MX" sz="2400" b="1" dirty="0"/>
              <a:t>2025 ROAD MAP</a:t>
            </a:r>
          </a:p>
        </p:txBody>
      </p:sp>
      <p:sp>
        <p:nvSpPr>
          <p:cNvPr id="39" name="Rounded Rectangle 14">
            <a:extLst>
              <a:ext uri="{FF2B5EF4-FFF2-40B4-BE49-F238E27FC236}">
                <a16:creationId xmlns:a16="http://schemas.microsoft.com/office/drawing/2014/main" id="{1E65F0F8-B247-91E1-76AA-C5D477BE45D9}"/>
              </a:ext>
            </a:extLst>
          </p:cNvPr>
          <p:cNvSpPr/>
          <p:nvPr/>
        </p:nvSpPr>
        <p:spPr>
          <a:xfrm>
            <a:off x="6339235" y="318582"/>
            <a:ext cx="294895" cy="276918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0" name="Rounded Rectangle 14">
            <a:extLst>
              <a:ext uri="{FF2B5EF4-FFF2-40B4-BE49-F238E27FC236}">
                <a16:creationId xmlns:a16="http://schemas.microsoft.com/office/drawing/2014/main" id="{327B90DA-B005-26C6-D085-F4A30CE66B4C}"/>
              </a:ext>
            </a:extLst>
          </p:cNvPr>
          <p:cNvSpPr/>
          <p:nvPr/>
        </p:nvSpPr>
        <p:spPr>
          <a:xfrm>
            <a:off x="1811485" y="1874235"/>
            <a:ext cx="2449619" cy="90867"/>
          </a:xfrm>
          <a:prstGeom prst="roundRect">
            <a:avLst>
              <a:gd name="adj" fmla="val 50000"/>
            </a:avLst>
          </a:prstGeom>
          <a:solidFill>
            <a:srgbClr val="679E1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800" dirty="0" err="1">
                <a:solidFill>
                  <a:srgbClr val="FFFFFF"/>
                </a:solidFill>
              </a:rPr>
              <a:t>Programacion</a:t>
            </a:r>
            <a:r>
              <a:rPr lang="en-GB" sz="800" dirty="0">
                <a:solidFill>
                  <a:srgbClr val="FFFFFF"/>
                </a:solidFill>
              </a:rPr>
              <a:t> regular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graphicFrame>
        <p:nvGraphicFramePr>
          <p:cNvPr id="2" name="Tabla 18">
            <a:extLst>
              <a:ext uri="{FF2B5EF4-FFF2-40B4-BE49-F238E27FC236}">
                <a16:creationId xmlns:a16="http://schemas.microsoft.com/office/drawing/2014/main" id="{AE8C4E33-9965-1E43-B70B-5DD61AB942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730108"/>
              </p:ext>
            </p:extLst>
          </p:nvPr>
        </p:nvGraphicFramePr>
        <p:xfrm>
          <a:off x="1781386" y="753836"/>
          <a:ext cx="9836904" cy="38862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2459226">
                  <a:extLst>
                    <a:ext uri="{9D8B030D-6E8A-4147-A177-3AD203B41FA5}">
                      <a16:colId xmlns:a16="http://schemas.microsoft.com/office/drawing/2014/main" val="2223788146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3653290101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1874243484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2946413348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3308494065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3456175578"/>
                    </a:ext>
                  </a:extLst>
                </a:gridCol>
                <a:gridCol w="1639484">
                  <a:extLst>
                    <a:ext uri="{9D8B030D-6E8A-4147-A177-3AD203B41FA5}">
                      <a16:colId xmlns:a16="http://schemas.microsoft.com/office/drawing/2014/main" val="3810859581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489138516"/>
                    </a:ext>
                  </a:extLst>
                </a:gridCol>
                <a:gridCol w="819742">
                  <a:extLst>
                    <a:ext uri="{9D8B030D-6E8A-4147-A177-3AD203B41FA5}">
                      <a16:colId xmlns:a16="http://schemas.microsoft.com/office/drawing/2014/main" val="1243723575"/>
                    </a:ext>
                  </a:extLst>
                </a:gridCol>
              </a:tblGrid>
              <a:tr h="302687">
                <a:tc>
                  <a:txBody>
                    <a:bodyPr/>
                    <a:lstStyle/>
                    <a:p>
                      <a:pPr algn="ctr"/>
                      <a:r>
                        <a:rPr lang="es-HN" dirty="0"/>
                        <a:t>Lanzamiento Tabcin Noche</a:t>
                      </a:r>
                    </a:p>
                  </a:txBody>
                  <a:tcPr anchor="ctr">
                    <a:solidFill>
                      <a:schemeClr val="bg1">
                        <a:lumMod val="6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HN" sz="65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b="1" dirty="0">
                          <a:solidFill>
                            <a:schemeClr val="tx1"/>
                          </a:solidFill>
                        </a:rPr>
                        <a:t>INICIO TEMPROADA DE LLUVIA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HN" sz="65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>
                    <a:noFill/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HN" sz="65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endParaRPr lang="es-HN" sz="65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b="1" dirty="0">
                          <a:solidFill>
                            <a:schemeClr val="tx1"/>
                          </a:solidFill>
                        </a:rPr>
                        <a:t>Temporada de lluvia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es-HN" sz="650" b="1" dirty="0">
                        <a:solidFill>
                          <a:schemeClr val="tx1"/>
                        </a:solidFill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b="1" dirty="0">
                          <a:solidFill>
                            <a:schemeClr val="tx1"/>
                          </a:solidFill>
                        </a:rPr>
                        <a:t>Navidad - FRIO</a:t>
                      </a:r>
                    </a:p>
                  </a:txBody>
                  <a:tcPr anchor="ctr">
                    <a:solidFill>
                      <a:schemeClr val="bg1">
                        <a:lumMod val="7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63829624"/>
                  </a:ext>
                </a:extLst>
              </a:tr>
            </a:tbl>
          </a:graphicData>
        </a:graphic>
      </p:graphicFrame>
      <p:graphicFrame>
        <p:nvGraphicFramePr>
          <p:cNvPr id="19" name="Tabla 19">
            <a:extLst>
              <a:ext uri="{FF2B5EF4-FFF2-40B4-BE49-F238E27FC236}">
                <a16:creationId xmlns:a16="http://schemas.microsoft.com/office/drawing/2014/main" id="{0FB6DE29-6522-7A4F-A13A-11E6C4ABAE9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57361419"/>
              </p:ext>
            </p:extLst>
          </p:nvPr>
        </p:nvGraphicFramePr>
        <p:xfrm>
          <a:off x="4783261" y="5570227"/>
          <a:ext cx="3684010" cy="13335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40488">
                  <a:extLst>
                    <a:ext uri="{9D8B030D-6E8A-4147-A177-3AD203B41FA5}">
                      <a16:colId xmlns:a16="http://schemas.microsoft.com/office/drawing/2014/main" val="1796883391"/>
                    </a:ext>
                  </a:extLst>
                </a:gridCol>
                <a:gridCol w="751698">
                  <a:extLst>
                    <a:ext uri="{9D8B030D-6E8A-4147-A177-3AD203B41FA5}">
                      <a16:colId xmlns:a16="http://schemas.microsoft.com/office/drawing/2014/main" val="3343880119"/>
                    </a:ext>
                  </a:extLst>
                </a:gridCol>
                <a:gridCol w="696093">
                  <a:extLst>
                    <a:ext uri="{9D8B030D-6E8A-4147-A177-3AD203B41FA5}">
                      <a16:colId xmlns:a16="http://schemas.microsoft.com/office/drawing/2014/main" val="2461997820"/>
                    </a:ext>
                  </a:extLst>
                </a:gridCol>
                <a:gridCol w="696093">
                  <a:extLst>
                    <a:ext uri="{9D8B030D-6E8A-4147-A177-3AD203B41FA5}">
                      <a16:colId xmlns:a16="http://schemas.microsoft.com/office/drawing/2014/main" val="3673851775"/>
                    </a:ext>
                  </a:extLst>
                </a:gridCol>
                <a:gridCol w="500602">
                  <a:extLst>
                    <a:ext uri="{9D8B030D-6E8A-4147-A177-3AD203B41FA5}">
                      <a16:colId xmlns:a16="http://schemas.microsoft.com/office/drawing/2014/main" val="182404475"/>
                    </a:ext>
                  </a:extLst>
                </a:gridCol>
                <a:gridCol w="399036">
                  <a:extLst>
                    <a:ext uri="{9D8B030D-6E8A-4147-A177-3AD203B41FA5}">
                      <a16:colId xmlns:a16="http://schemas.microsoft.com/office/drawing/2014/main" val="2206647489"/>
                    </a:ext>
                  </a:extLst>
                </a:gridCol>
              </a:tblGrid>
              <a:tr h="170754">
                <a:tc>
                  <a:txBody>
                    <a:bodyPr/>
                    <a:lstStyle/>
                    <a:p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Marca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dirty="0"/>
                        <a:t>Tabcin GyT</a:t>
                      </a:r>
                    </a:p>
                  </a:txBody>
                  <a:tcPr>
                    <a:solidFill>
                      <a:srgbClr val="7030A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dirty="0"/>
                        <a:t>Noche</a:t>
                      </a:r>
                    </a:p>
                  </a:txBody>
                  <a:tcP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dirty="0"/>
                        <a:t>Niños</a:t>
                      </a:r>
                    </a:p>
                  </a:txBody>
                  <a:tcPr>
                    <a:solidFill>
                      <a:srgbClr val="FF8A2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TOTAL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MIX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5783991"/>
                  </a:ext>
                </a:extLst>
              </a:tr>
              <a:tr h="170754">
                <a:tc>
                  <a:txBody>
                    <a:bodyPr/>
                    <a:lstStyle/>
                    <a:p>
                      <a:r>
                        <a:rPr lang="es-HN" sz="650" dirty="0"/>
                        <a:t>TV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96.0</a:t>
                      </a:r>
                    </a:p>
                  </a:txBody>
                  <a:tcPr>
                    <a:solidFill>
                      <a:srgbClr val="D4D4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16.5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16.5</a:t>
                      </a:r>
                    </a:p>
                  </a:txBody>
                  <a:tcPr>
                    <a:solidFill>
                      <a:srgbClr val="FDE1A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$129.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70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617403"/>
                  </a:ext>
                </a:extLst>
              </a:tr>
              <a:tr h="170754">
                <a:tc>
                  <a:txBody>
                    <a:bodyPr/>
                    <a:lstStyle/>
                    <a:p>
                      <a:r>
                        <a:rPr lang="es-HN" sz="650" dirty="0"/>
                        <a:t>RAD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25.4</a:t>
                      </a:r>
                    </a:p>
                  </a:txBody>
                  <a:tcPr>
                    <a:solidFill>
                      <a:srgbClr val="D4D4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0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0</a:t>
                      </a:r>
                    </a:p>
                  </a:txBody>
                  <a:tcPr>
                    <a:solidFill>
                      <a:srgbClr val="FDE1A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25.4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14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5344444"/>
                  </a:ext>
                </a:extLst>
              </a:tr>
              <a:tr h="170754">
                <a:tc>
                  <a:txBody>
                    <a:bodyPr/>
                    <a:lstStyle/>
                    <a:p>
                      <a:r>
                        <a:rPr lang="es-HN" sz="650" dirty="0"/>
                        <a:t>OOH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12..0</a:t>
                      </a:r>
                    </a:p>
                  </a:txBody>
                  <a:tcPr>
                    <a:solidFill>
                      <a:srgbClr val="D4D4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0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0</a:t>
                      </a:r>
                    </a:p>
                  </a:txBody>
                  <a:tcPr>
                    <a:solidFill>
                      <a:srgbClr val="FDE1A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12.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7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39029718"/>
                  </a:ext>
                </a:extLst>
              </a:tr>
              <a:tr h="170754">
                <a:tc>
                  <a:txBody>
                    <a:bodyPr/>
                    <a:lstStyle/>
                    <a:p>
                      <a:r>
                        <a:rPr lang="es-HN" sz="650" dirty="0"/>
                        <a:t>DIG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11.0</a:t>
                      </a:r>
                    </a:p>
                  </a:txBody>
                  <a:tcPr>
                    <a:solidFill>
                      <a:srgbClr val="D4D4FF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7.0</a:t>
                      </a:r>
                    </a:p>
                  </a:txBody>
                  <a:tcPr>
                    <a:solidFill>
                      <a:schemeClr val="accent2">
                        <a:lumMod val="60000"/>
                        <a:lumOff val="4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/>
                        <a:t>0</a:t>
                      </a:r>
                    </a:p>
                  </a:txBody>
                  <a:tcPr>
                    <a:solidFill>
                      <a:srgbClr val="FDE1AB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18.0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dirty="0">
                          <a:solidFill>
                            <a:schemeClr val="tx1"/>
                          </a:solidFill>
                        </a:rPr>
                        <a:t>8%</a:t>
                      </a:r>
                    </a:p>
                  </a:txBody>
                  <a:tcP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82547303"/>
                  </a:ext>
                </a:extLst>
              </a:tr>
              <a:tr h="170754">
                <a:tc>
                  <a:txBody>
                    <a:bodyPr/>
                    <a:lstStyle/>
                    <a:p>
                      <a:r>
                        <a:rPr lang="es-HN" sz="650" b="1" dirty="0"/>
                        <a:t>TOTAL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$144.4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$23.5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16.5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$184.4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100%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4366197"/>
                  </a:ext>
                </a:extLst>
              </a:tr>
              <a:tr h="170754">
                <a:tc>
                  <a:txBody>
                    <a:bodyPr/>
                    <a:lstStyle/>
                    <a:p>
                      <a:endParaRPr lang="es-HN" sz="65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78%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13%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r>
                        <a:rPr lang="es-HN" sz="650" b="1" dirty="0"/>
                        <a:t>9%</a:t>
                      </a:r>
                    </a:p>
                  </a:txBody>
                  <a:tcPr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HN" sz="650" b="1" dirty="0"/>
                    </a:p>
                  </a:txBody>
                  <a:tcPr>
                    <a:noFill/>
                  </a:tcPr>
                </a:tc>
                <a:tc>
                  <a:txBody>
                    <a:bodyPr/>
                    <a:lstStyle/>
                    <a:p>
                      <a:pPr algn="r"/>
                      <a:endParaRPr lang="es-HN" sz="650" b="1" dirty="0"/>
                    </a:p>
                  </a:txBody>
                  <a:tcP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711506048"/>
                  </a:ext>
                </a:extLst>
              </a:tr>
            </a:tbl>
          </a:graphicData>
        </a:graphic>
      </p:graphicFrame>
      <p:pic>
        <p:nvPicPr>
          <p:cNvPr id="95" name="Picture 2" descr="Imagen relacionada">
            <a:extLst>
              <a:ext uri="{FF2B5EF4-FFF2-40B4-BE49-F238E27FC236}">
                <a16:creationId xmlns:a16="http://schemas.microsoft.com/office/drawing/2014/main" id="{3E9BF16B-58CB-7840-8948-5442472B06A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5173" y="169195"/>
            <a:ext cx="1027289" cy="50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6" name="Picture 2" descr="Imagen relacionada">
            <a:extLst>
              <a:ext uri="{FF2B5EF4-FFF2-40B4-BE49-F238E27FC236}">
                <a16:creationId xmlns:a16="http://schemas.microsoft.com/office/drawing/2014/main" id="{342BB388-4771-7E42-A651-8F1F7F7423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867867" y="169195"/>
            <a:ext cx="1027289" cy="500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05" name="Rounded Rectangle 14">
            <a:extLst>
              <a:ext uri="{FF2B5EF4-FFF2-40B4-BE49-F238E27FC236}">
                <a16:creationId xmlns:a16="http://schemas.microsoft.com/office/drawing/2014/main" id="{59F53E8A-55F5-3244-8AF3-5B106B8DA58E}"/>
              </a:ext>
            </a:extLst>
          </p:cNvPr>
          <p:cNvSpPr/>
          <p:nvPr/>
        </p:nvSpPr>
        <p:spPr>
          <a:xfrm>
            <a:off x="7963767" y="318582"/>
            <a:ext cx="294895" cy="276918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106" name="Imagen 105">
            <a:extLst>
              <a:ext uri="{FF2B5EF4-FFF2-40B4-BE49-F238E27FC236}">
                <a16:creationId xmlns:a16="http://schemas.microsoft.com/office/drawing/2014/main" id="{A613C7F8-5899-684F-9130-E88A3CC7C5C4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54456" y="149927"/>
            <a:ext cx="867676" cy="505781"/>
          </a:xfrm>
          <a:prstGeom prst="rect">
            <a:avLst/>
          </a:prstGeom>
        </p:spPr>
      </p:pic>
      <p:sp>
        <p:nvSpPr>
          <p:cNvPr id="107" name="Rounded Rectangle 14">
            <a:extLst>
              <a:ext uri="{FF2B5EF4-FFF2-40B4-BE49-F238E27FC236}">
                <a16:creationId xmlns:a16="http://schemas.microsoft.com/office/drawing/2014/main" id="{9C591445-9897-894B-ABEE-54D53414D4D8}"/>
              </a:ext>
            </a:extLst>
          </p:cNvPr>
          <p:cNvSpPr/>
          <p:nvPr/>
        </p:nvSpPr>
        <p:spPr>
          <a:xfrm>
            <a:off x="9483351" y="318582"/>
            <a:ext cx="294895" cy="276918"/>
          </a:xfrm>
          <a:prstGeom prst="roundRect">
            <a:avLst>
              <a:gd name="adj" fmla="val 50000"/>
            </a:avLst>
          </a:prstGeom>
          <a:solidFill>
            <a:srgbClr val="FF5D37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11" name="Rounded Rectangle 14">
            <a:extLst>
              <a:ext uri="{FF2B5EF4-FFF2-40B4-BE49-F238E27FC236}">
                <a16:creationId xmlns:a16="http://schemas.microsoft.com/office/drawing/2014/main" id="{4D43F76E-7A89-8648-A338-90DC703175FC}"/>
              </a:ext>
            </a:extLst>
          </p:cNvPr>
          <p:cNvSpPr/>
          <p:nvPr/>
        </p:nvSpPr>
        <p:spPr>
          <a:xfrm>
            <a:off x="1811484" y="1625053"/>
            <a:ext cx="9806806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Patrocinio</a:t>
            </a:r>
            <a:r>
              <a:rPr kumimoji="0" lang="en-GB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 el </a:t>
            </a:r>
            <a:r>
              <a:rPr kumimoji="0" lang="en-GB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ea typeface="+mn-ea"/>
                <a:cs typeface="+mn-cs"/>
              </a:rPr>
              <a:t>clima</a:t>
            </a: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2" name="Rounded Rectangle 14">
            <a:extLst>
              <a:ext uri="{FF2B5EF4-FFF2-40B4-BE49-F238E27FC236}">
                <a16:creationId xmlns:a16="http://schemas.microsoft.com/office/drawing/2014/main" id="{F6EB6A6F-3605-064B-936B-F594DAFF4C98}"/>
              </a:ext>
            </a:extLst>
          </p:cNvPr>
          <p:cNvSpPr/>
          <p:nvPr/>
        </p:nvSpPr>
        <p:spPr>
          <a:xfrm>
            <a:off x="2558912" y="1753324"/>
            <a:ext cx="865747" cy="90867"/>
          </a:xfrm>
          <a:prstGeom prst="roundRect">
            <a:avLst>
              <a:gd name="adj" fmla="val 50000"/>
            </a:avLst>
          </a:prstGeom>
          <a:solidFill>
            <a:srgbClr val="FF5D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6" name="Rounded Rectangle 14">
            <a:extLst>
              <a:ext uri="{FF2B5EF4-FFF2-40B4-BE49-F238E27FC236}">
                <a16:creationId xmlns:a16="http://schemas.microsoft.com/office/drawing/2014/main" id="{CEDE6947-4AC7-F04F-A515-BE310A9184B9}"/>
              </a:ext>
            </a:extLst>
          </p:cNvPr>
          <p:cNvSpPr/>
          <p:nvPr/>
        </p:nvSpPr>
        <p:spPr>
          <a:xfrm>
            <a:off x="5052176" y="1765080"/>
            <a:ext cx="865747" cy="90867"/>
          </a:xfrm>
          <a:prstGeom prst="roundRect">
            <a:avLst>
              <a:gd name="adj" fmla="val 50000"/>
            </a:avLst>
          </a:prstGeom>
          <a:solidFill>
            <a:srgbClr val="FF5D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7" name="Rounded Rectangle 14">
            <a:extLst>
              <a:ext uri="{FF2B5EF4-FFF2-40B4-BE49-F238E27FC236}">
                <a16:creationId xmlns:a16="http://schemas.microsoft.com/office/drawing/2014/main" id="{F7AEA14C-4031-BF4E-99E7-3722BCE0DF6D}"/>
              </a:ext>
            </a:extLst>
          </p:cNvPr>
          <p:cNvSpPr/>
          <p:nvPr/>
        </p:nvSpPr>
        <p:spPr>
          <a:xfrm>
            <a:off x="7516903" y="1769088"/>
            <a:ext cx="865747" cy="90867"/>
          </a:xfrm>
          <a:prstGeom prst="roundRect">
            <a:avLst>
              <a:gd name="adj" fmla="val 50000"/>
            </a:avLst>
          </a:prstGeom>
          <a:solidFill>
            <a:srgbClr val="FF5D3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0" name="Rounded Rectangle 14">
            <a:extLst>
              <a:ext uri="{FF2B5EF4-FFF2-40B4-BE49-F238E27FC236}">
                <a16:creationId xmlns:a16="http://schemas.microsoft.com/office/drawing/2014/main" id="{5BDF57A5-0D73-FB4E-B0D4-C6ACD6330486}"/>
              </a:ext>
            </a:extLst>
          </p:cNvPr>
          <p:cNvSpPr/>
          <p:nvPr/>
        </p:nvSpPr>
        <p:spPr>
          <a:xfrm>
            <a:off x="4261104" y="2621538"/>
            <a:ext cx="868680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2" name="Rounded Rectangle 14">
            <a:extLst>
              <a:ext uri="{FF2B5EF4-FFF2-40B4-BE49-F238E27FC236}">
                <a16:creationId xmlns:a16="http://schemas.microsoft.com/office/drawing/2014/main" id="{43360A61-2CA5-984A-AD37-A88F00D2E9D5}"/>
              </a:ext>
            </a:extLst>
          </p:cNvPr>
          <p:cNvSpPr/>
          <p:nvPr/>
        </p:nvSpPr>
        <p:spPr>
          <a:xfrm>
            <a:off x="5138928" y="2615924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3" name="Rounded Rectangle 14">
            <a:extLst>
              <a:ext uri="{FF2B5EF4-FFF2-40B4-BE49-F238E27FC236}">
                <a16:creationId xmlns:a16="http://schemas.microsoft.com/office/drawing/2014/main" id="{F6347FC3-9510-CC46-BCEA-B58B68037374}"/>
              </a:ext>
            </a:extLst>
          </p:cNvPr>
          <p:cNvSpPr/>
          <p:nvPr/>
        </p:nvSpPr>
        <p:spPr>
          <a:xfrm>
            <a:off x="5917923" y="2615924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8" name="Rounded Rectangle 14">
            <a:extLst>
              <a:ext uri="{FF2B5EF4-FFF2-40B4-BE49-F238E27FC236}">
                <a16:creationId xmlns:a16="http://schemas.microsoft.com/office/drawing/2014/main" id="{EE07BE01-564B-2345-AF63-55A6AD067A6E}"/>
              </a:ext>
            </a:extLst>
          </p:cNvPr>
          <p:cNvSpPr/>
          <p:nvPr/>
        </p:nvSpPr>
        <p:spPr>
          <a:xfrm>
            <a:off x="8388741" y="2621538"/>
            <a:ext cx="868680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29" name="Rounded Rectangle 14">
            <a:extLst>
              <a:ext uri="{FF2B5EF4-FFF2-40B4-BE49-F238E27FC236}">
                <a16:creationId xmlns:a16="http://schemas.microsoft.com/office/drawing/2014/main" id="{DCDB9AA5-0BF7-9F43-9B55-02C8B5C5FCC8}"/>
              </a:ext>
            </a:extLst>
          </p:cNvPr>
          <p:cNvSpPr/>
          <p:nvPr/>
        </p:nvSpPr>
        <p:spPr>
          <a:xfrm>
            <a:off x="9266565" y="2615924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0" name="Rounded Rectangle 14">
            <a:extLst>
              <a:ext uri="{FF2B5EF4-FFF2-40B4-BE49-F238E27FC236}">
                <a16:creationId xmlns:a16="http://schemas.microsoft.com/office/drawing/2014/main" id="{BB38C3BC-270C-7841-84DB-A415B8F7FED0}"/>
              </a:ext>
            </a:extLst>
          </p:cNvPr>
          <p:cNvSpPr/>
          <p:nvPr/>
        </p:nvSpPr>
        <p:spPr>
          <a:xfrm>
            <a:off x="10045560" y="2615924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2" name="Rounded Rectangle 14">
            <a:extLst>
              <a:ext uri="{FF2B5EF4-FFF2-40B4-BE49-F238E27FC236}">
                <a16:creationId xmlns:a16="http://schemas.microsoft.com/office/drawing/2014/main" id="{2733061A-7ED0-7B49-8D9A-4034BE81A27A}"/>
              </a:ext>
            </a:extLst>
          </p:cNvPr>
          <p:cNvSpPr/>
          <p:nvPr/>
        </p:nvSpPr>
        <p:spPr>
          <a:xfrm>
            <a:off x="5138928" y="3048379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3" name="Rounded Rectangle 14">
            <a:extLst>
              <a:ext uri="{FF2B5EF4-FFF2-40B4-BE49-F238E27FC236}">
                <a16:creationId xmlns:a16="http://schemas.microsoft.com/office/drawing/2014/main" id="{50F4D128-CC02-3648-A724-F9D6C20AE434}"/>
              </a:ext>
            </a:extLst>
          </p:cNvPr>
          <p:cNvSpPr/>
          <p:nvPr/>
        </p:nvSpPr>
        <p:spPr>
          <a:xfrm>
            <a:off x="5917923" y="3048379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4" name="Rounded Rectangle 14">
            <a:extLst>
              <a:ext uri="{FF2B5EF4-FFF2-40B4-BE49-F238E27FC236}">
                <a16:creationId xmlns:a16="http://schemas.microsoft.com/office/drawing/2014/main" id="{1E78455D-58CE-6A4E-8152-80E133CAEE07}"/>
              </a:ext>
            </a:extLst>
          </p:cNvPr>
          <p:cNvSpPr/>
          <p:nvPr/>
        </p:nvSpPr>
        <p:spPr>
          <a:xfrm>
            <a:off x="8388741" y="3050122"/>
            <a:ext cx="868680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5" name="Rounded Rectangle 14">
            <a:extLst>
              <a:ext uri="{FF2B5EF4-FFF2-40B4-BE49-F238E27FC236}">
                <a16:creationId xmlns:a16="http://schemas.microsoft.com/office/drawing/2014/main" id="{46BAC65D-36EF-7041-9372-663FD265B1F3}"/>
              </a:ext>
            </a:extLst>
          </p:cNvPr>
          <p:cNvSpPr/>
          <p:nvPr/>
        </p:nvSpPr>
        <p:spPr>
          <a:xfrm>
            <a:off x="9266565" y="3044508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7" name="Rounded Rectangle 14">
            <a:extLst>
              <a:ext uri="{FF2B5EF4-FFF2-40B4-BE49-F238E27FC236}">
                <a16:creationId xmlns:a16="http://schemas.microsoft.com/office/drawing/2014/main" id="{C560202B-E19B-DE47-9493-0C2EC57FF1F0}"/>
              </a:ext>
            </a:extLst>
          </p:cNvPr>
          <p:cNvSpPr/>
          <p:nvPr/>
        </p:nvSpPr>
        <p:spPr>
          <a:xfrm>
            <a:off x="5140683" y="3460000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8" name="Rounded Rectangle 14">
            <a:extLst>
              <a:ext uri="{FF2B5EF4-FFF2-40B4-BE49-F238E27FC236}">
                <a16:creationId xmlns:a16="http://schemas.microsoft.com/office/drawing/2014/main" id="{F67C3816-29C1-F04D-A10D-4DFB9C505307}"/>
              </a:ext>
            </a:extLst>
          </p:cNvPr>
          <p:cNvSpPr/>
          <p:nvPr/>
        </p:nvSpPr>
        <p:spPr>
          <a:xfrm>
            <a:off x="6752853" y="3460000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39" name="Rounded Rectangle 14">
            <a:extLst>
              <a:ext uri="{FF2B5EF4-FFF2-40B4-BE49-F238E27FC236}">
                <a16:creationId xmlns:a16="http://schemas.microsoft.com/office/drawing/2014/main" id="{3F7C291E-82C9-184E-8B9D-EB65B00308B5}"/>
              </a:ext>
            </a:extLst>
          </p:cNvPr>
          <p:cNvSpPr/>
          <p:nvPr/>
        </p:nvSpPr>
        <p:spPr>
          <a:xfrm>
            <a:off x="8433583" y="3443720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0" name="Rounded Rectangle 14">
            <a:extLst>
              <a:ext uri="{FF2B5EF4-FFF2-40B4-BE49-F238E27FC236}">
                <a16:creationId xmlns:a16="http://schemas.microsoft.com/office/drawing/2014/main" id="{0161752A-C23A-5240-BEEB-A985D8962D78}"/>
              </a:ext>
            </a:extLst>
          </p:cNvPr>
          <p:cNvSpPr/>
          <p:nvPr/>
        </p:nvSpPr>
        <p:spPr>
          <a:xfrm>
            <a:off x="9241300" y="3452379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1" name="Rounded Rectangle 14">
            <a:extLst>
              <a:ext uri="{FF2B5EF4-FFF2-40B4-BE49-F238E27FC236}">
                <a16:creationId xmlns:a16="http://schemas.microsoft.com/office/drawing/2014/main" id="{0495D7AD-83A4-824A-ABBB-13B0C9B90122}"/>
              </a:ext>
            </a:extLst>
          </p:cNvPr>
          <p:cNvSpPr/>
          <p:nvPr/>
        </p:nvSpPr>
        <p:spPr>
          <a:xfrm>
            <a:off x="1811484" y="3473619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2" name="Rounded Rectangle 14">
            <a:extLst>
              <a:ext uri="{FF2B5EF4-FFF2-40B4-BE49-F238E27FC236}">
                <a16:creationId xmlns:a16="http://schemas.microsoft.com/office/drawing/2014/main" id="{10F72FF9-6030-8246-BDE6-7AB77B5AEEC5}"/>
              </a:ext>
            </a:extLst>
          </p:cNvPr>
          <p:cNvSpPr/>
          <p:nvPr/>
        </p:nvSpPr>
        <p:spPr>
          <a:xfrm>
            <a:off x="2639894" y="3473086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3" name="Rounded Rectangle 14">
            <a:extLst>
              <a:ext uri="{FF2B5EF4-FFF2-40B4-BE49-F238E27FC236}">
                <a16:creationId xmlns:a16="http://schemas.microsoft.com/office/drawing/2014/main" id="{B2B79273-C61D-6E4D-B6FE-B1A633238636}"/>
              </a:ext>
            </a:extLst>
          </p:cNvPr>
          <p:cNvSpPr/>
          <p:nvPr/>
        </p:nvSpPr>
        <p:spPr>
          <a:xfrm>
            <a:off x="5115006" y="4826642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4" name="Rounded Rectangle 14">
            <a:extLst>
              <a:ext uri="{FF2B5EF4-FFF2-40B4-BE49-F238E27FC236}">
                <a16:creationId xmlns:a16="http://schemas.microsoft.com/office/drawing/2014/main" id="{089631F6-FD0E-EE4B-BFE0-8DA775159F02}"/>
              </a:ext>
            </a:extLst>
          </p:cNvPr>
          <p:cNvSpPr/>
          <p:nvPr/>
        </p:nvSpPr>
        <p:spPr>
          <a:xfrm>
            <a:off x="6727176" y="4826642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5" name="Rounded Rectangle 14">
            <a:extLst>
              <a:ext uri="{FF2B5EF4-FFF2-40B4-BE49-F238E27FC236}">
                <a16:creationId xmlns:a16="http://schemas.microsoft.com/office/drawing/2014/main" id="{ACD03C16-9335-0349-B9AA-5CE3046513B7}"/>
              </a:ext>
            </a:extLst>
          </p:cNvPr>
          <p:cNvSpPr/>
          <p:nvPr/>
        </p:nvSpPr>
        <p:spPr>
          <a:xfrm>
            <a:off x="8407906" y="4810362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6" name="Rounded Rectangle 14">
            <a:extLst>
              <a:ext uri="{FF2B5EF4-FFF2-40B4-BE49-F238E27FC236}">
                <a16:creationId xmlns:a16="http://schemas.microsoft.com/office/drawing/2014/main" id="{B4422E43-ADCD-3643-9FB1-7E37FBB3C00C}"/>
              </a:ext>
            </a:extLst>
          </p:cNvPr>
          <p:cNvSpPr/>
          <p:nvPr/>
        </p:nvSpPr>
        <p:spPr>
          <a:xfrm>
            <a:off x="9215623" y="4819021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7030A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7" name="Rounded Rectangle 14">
            <a:extLst>
              <a:ext uri="{FF2B5EF4-FFF2-40B4-BE49-F238E27FC236}">
                <a16:creationId xmlns:a16="http://schemas.microsoft.com/office/drawing/2014/main" id="{F6A8FDB0-738D-0A4D-8A00-D0C36DED0142}"/>
              </a:ext>
            </a:extLst>
          </p:cNvPr>
          <p:cNvSpPr/>
          <p:nvPr/>
        </p:nvSpPr>
        <p:spPr>
          <a:xfrm>
            <a:off x="1785807" y="4840261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48" name="Rounded Rectangle 14">
            <a:extLst>
              <a:ext uri="{FF2B5EF4-FFF2-40B4-BE49-F238E27FC236}">
                <a16:creationId xmlns:a16="http://schemas.microsoft.com/office/drawing/2014/main" id="{01BBAB4F-C46F-FB4F-A176-27F35899BF06}"/>
              </a:ext>
            </a:extLst>
          </p:cNvPr>
          <p:cNvSpPr/>
          <p:nvPr/>
        </p:nvSpPr>
        <p:spPr>
          <a:xfrm>
            <a:off x="2614217" y="4839728"/>
            <a:ext cx="778995" cy="105626"/>
          </a:xfrm>
          <a:prstGeom prst="roundRect">
            <a:avLst>
              <a:gd name="adj" fmla="val 50000"/>
            </a:avLst>
          </a:prstGeom>
          <a:solidFill>
            <a:srgbClr val="00B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ea typeface="+mn-ea"/>
              <a:cs typeface="+mn-cs"/>
            </a:endParaRPr>
          </a:p>
        </p:txBody>
      </p:sp>
      <p:sp>
        <p:nvSpPr>
          <p:cNvPr id="11" name="CuadroTexto 10">
            <a:extLst>
              <a:ext uri="{FF2B5EF4-FFF2-40B4-BE49-F238E27FC236}">
                <a16:creationId xmlns:a16="http://schemas.microsoft.com/office/drawing/2014/main" id="{350CBD46-51D4-1E40-BFDA-C0CCBF7B6277}"/>
              </a:ext>
            </a:extLst>
          </p:cNvPr>
          <p:cNvSpPr txBox="1"/>
          <p:nvPr/>
        </p:nvSpPr>
        <p:spPr>
          <a:xfrm>
            <a:off x="5443273" y="577008"/>
            <a:ext cx="949299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000" b="1" dirty="0">
                <a:solidFill>
                  <a:srgbClr val="7030A0"/>
                </a:solidFill>
              </a:rPr>
              <a:t>GRIPE Y TOS</a:t>
            </a:r>
          </a:p>
        </p:txBody>
      </p:sp>
      <p:sp>
        <p:nvSpPr>
          <p:cNvPr id="49" name="CuadroTexto 48">
            <a:extLst>
              <a:ext uri="{FF2B5EF4-FFF2-40B4-BE49-F238E27FC236}">
                <a16:creationId xmlns:a16="http://schemas.microsoft.com/office/drawing/2014/main" id="{CF6E3E88-31C4-6945-A7AA-FE9A5275DCC2}"/>
              </a:ext>
            </a:extLst>
          </p:cNvPr>
          <p:cNvSpPr txBox="1"/>
          <p:nvPr/>
        </p:nvSpPr>
        <p:spPr>
          <a:xfrm>
            <a:off x="7117166" y="588533"/>
            <a:ext cx="641522" cy="246221"/>
          </a:xfrm>
          <a:prstGeom prst="rect">
            <a:avLst/>
          </a:prstGeom>
          <a:noFill/>
          <a:ln>
            <a:noFill/>
          </a:ln>
        </p:spPr>
        <p:txBody>
          <a:bodyPr wrap="none" rtlCol="0">
            <a:spAutoFit/>
          </a:bodyPr>
          <a:lstStyle/>
          <a:p>
            <a:r>
              <a:rPr lang="es-HN" sz="1000" b="1" dirty="0">
                <a:solidFill>
                  <a:srgbClr val="00B050"/>
                </a:solidFill>
              </a:rPr>
              <a:t>NOCHE</a:t>
            </a:r>
          </a:p>
        </p:txBody>
      </p:sp>
    </p:spTree>
    <p:extLst>
      <p:ext uri="{BB962C8B-B14F-4D97-AF65-F5344CB8AC3E}">
        <p14:creationId xmlns:p14="http://schemas.microsoft.com/office/powerpoint/2010/main" val="60187340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6" name="Tijdelijke aanduiding voor tekst 3">
            <a:extLst>
              <a:ext uri="{FF2B5EF4-FFF2-40B4-BE49-F238E27FC236}">
                <a16:creationId xmlns:a16="http://schemas.microsoft.com/office/drawing/2014/main" id="{5758959A-D512-9699-EEC4-DBBFEF3333DB}"/>
              </a:ext>
            </a:extLst>
          </p:cNvPr>
          <p:cNvSpPr txBox="1">
            <a:spLocks/>
          </p:cNvSpPr>
          <p:nvPr/>
        </p:nvSpPr>
        <p:spPr>
          <a:xfrm>
            <a:off x="5857544" y="2875294"/>
            <a:ext cx="2298653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72" name="Oval 10">
            <a:extLst>
              <a:ext uri="{FF2B5EF4-FFF2-40B4-BE49-F238E27FC236}">
                <a16:creationId xmlns:a16="http://schemas.microsoft.com/office/drawing/2014/main" id="{2EB324A2-AEE7-A8FB-3BDE-22F597670FE1}"/>
              </a:ext>
            </a:extLst>
          </p:cNvPr>
          <p:cNvSpPr/>
          <p:nvPr/>
        </p:nvSpPr>
        <p:spPr>
          <a:xfrm>
            <a:off x="5842554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graphicFrame>
        <p:nvGraphicFramePr>
          <p:cNvPr id="39" name="Table 6">
            <a:extLst>
              <a:ext uri="{FF2B5EF4-FFF2-40B4-BE49-F238E27FC236}">
                <a16:creationId xmlns:a16="http://schemas.microsoft.com/office/drawing/2014/main" id="{91EEB369-26A8-62A5-7155-1BFB0AC25B9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77001633"/>
              </p:ext>
            </p:extLst>
          </p:nvPr>
        </p:nvGraphicFramePr>
        <p:xfrm>
          <a:off x="8282904" y="2872791"/>
          <a:ext cx="3652078" cy="2930979"/>
        </p:xfrm>
        <a:graphic>
          <a:graphicData uri="http://schemas.openxmlformats.org/drawingml/2006/table">
            <a:tbl>
              <a:tblPr firstRow="1" bandRow="1"/>
              <a:tblGrid>
                <a:gridCol w="1826039">
                  <a:extLst>
                    <a:ext uri="{9D8B030D-6E8A-4147-A177-3AD203B41FA5}">
                      <a16:colId xmlns:a16="http://schemas.microsoft.com/office/drawing/2014/main" val="1211728796"/>
                    </a:ext>
                  </a:extLst>
                </a:gridCol>
                <a:gridCol w="1826039">
                  <a:extLst>
                    <a:ext uri="{9D8B030D-6E8A-4147-A177-3AD203B41FA5}">
                      <a16:colId xmlns:a16="http://schemas.microsoft.com/office/drawing/2014/main" val="2279435026"/>
                    </a:ext>
                  </a:extLst>
                </a:gridCol>
              </a:tblGrid>
              <a:tr h="4866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Estacionalidad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b="1" kern="1200">
                          <a:solidFill>
                            <a:schemeClr val="lt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Inicio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de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año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, mayo y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septiembre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(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temporada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 de </a:t>
                      </a:r>
                      <a:r>
                        <a:rPr lang="en-GB" sz="1000" b="0" dirty="0" err="1">
                          <a:solidFill>
                            <a:schemeClr val="tx1"/>
                          </a:solidFill>
                          <a:latin typeface="+mn-lt"/>
                        </a:rPr>
                        <a:t>lluvia</a:t>
                      </a:r>
                      <a:r>
                        <a:rPr lang="en-GB" sz="1000" b="0" dirty="0">
                          <a:solidFill>
                            <a:schemeClr val="tx1"/>
                          </a:solidFill>
                          <a:latin typeface="+mn-lt"/>
                        </a:rPr>
                        <a:t>?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9050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737685"/>
                  </a:ext>
                </a:extLst>
              </a:tr>
              <a:tr h="49871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señal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OTV + PTV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50210266"/>
                  </a:ext>
                </a:extLst>
              </a:tr>
              <a:tr h="476461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Tipo de </a:t>
                      </a:r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acción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000" dirty="0" err="1">
                          <a:solidFill>
                            <a:schemeClr val="tx1"/>
                          </a:solidFill>
                          <a:latin typeface="+mn-lt"/>
                        </a:rPr>
                        <a:t>Patrocinio</a:t>
                      </a:r>
                      <a:r>
                        <a:rPr lang="en-GB" sz="1000" dirty="0">
                          <a:solidFill>
                            <a:schemeClr val="tx1"/>
                          </a:solidFill>
                          <a:latin typeface="+mn-lt"/>
                        </a:rPr>
                        <a:t> del </a:t>
                      </a:r>
                      <a:r>
                        <a:rPr lang="en-GB" sz="1000" dirty="0" err="1">
                          <a:solidFill>
                            <a:schemeClr val="tx1"/>
                          </a:solidFill>
                          <a:latin typeface="+mn-lt"/>
                        </a:rPr>
                        <a:t>Clima</a:t>
                      </a:r>
                      <a:r>
                        <a:rPr lang="en-GB" sz="1000" dirty="0">
                          <a:solidFill>
                            <a:schemeClr val="tx1"/>
                          </a:solidFill>
                          <a:latin typeface="+mn-lt"/>
                        </a:rPr>
                        <a:t> y </a:t>
                      </a:r>
                      <a:r>
                        <a:rPr lang="en-GB" sz="1000" dirty="0" err="1">
                          <a:solidFill>
                            <a:schemeClr val="tx1"/>
                          </a:solidFill>
                          <a:latin typeface="+mn-lt"/>
                        </a:rPr>
                        <a:t>programación</a:t>
                      </a:r>
                      <a:r>
                        <a:rPr lang="en-GB" sz="1000" dirty="0">
                          <a:solidFill>
                            <a:schemeClr val="tx1"/>
                          </a:solidFill>
                          <a:latin typeface="+mn-lt"/>
                        </a:rPr>
                        <a:t> regular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25829059"/>
                  </a:ext>
                </a:extLst>
              </a:tr>
              <a:tr h="488536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Duración</a:t>
                      </a:r>
                      <a:r>
                        <a:rPr lang="en-GB" sz="1200" b="0" dirty="0">
                          <a:solidFill>
                            <a:schemeClr val="tx1"/>
                          </a:solidFill>
                          <a:latin typeface="+mj-lt"/>
                        </a:rPr>
                        <a:t> de spot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20ss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6281069"/>
                  </a:ext>
                </a:extLst>
              </a:tr>
              <a:tr h="449124"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Trp´s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1pPr>
                      <a:lvl2pPr marL="181851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2pPr>
                      <a:lvl3pPr marL="36370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3pPr>
                      <a:lvl4pPr marL="545552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4pPr>
                      <a:lvl5pPr marL="727404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5pPr>
                      <a:lvl6pPr marL="90925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6pPr>
                      <a:lvl7pPr marL="1091105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7pPr>
                      <a:lvl8pPr marL="127295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8pPr>
                      <a:lvl9pPr marL="1454807" algn="l" defTabSz="363702" rtl="0" eaLnBrk="1" latinLnBrk="0" hangingPunct="1">
                        <a:defRPr sz="716" kern="1200">
                          <a:solidFill>
                            <a:schemeClr val="dk1"/>
                          </a:solidFill>
                          <a:latin typeface="Century Gothic" panose="020F0302020204030204"/>
                        </a:defRPr>
                      </a:lvl9pPr>
                    </a:lstStyle>
                    <a:p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11, 025 (3 </a:t>
                      </a:r>
                      <a:r>
                        <a:rPr lang="en-GB" sz="1200" dirty="0" err="1">
                          <a:solidFill>
                            <a:schemeClr val="tx1"/>
                          </a:solidFill>
                          <a:latin typeface="+mn-lt"/>
                        </a:rPr>
                        <a:t>marcas</a:t>
                      </a:r>
                      <a:r>
                        <a:rPr lang="en-GB" sz="1200" dirty="0">
                          <a:solidFill>
                            <a:schemeClr val="tx1"/>
                          </a:solidFill>
                          <a:latin typeface="+mn-lt"/>
                        </a:rPr>
                        <a:t>)</a:t>
                      </a: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41968482"/>
                  </a:ext>
                </a:extLst>
              </a:tr>
              <a:tr h="439997">
                <a:tc>
                  <a:txBody>
                    <a:bodyPr/>
                    <a:lstStyle/>
                    <a:p>
                      <a:r>
                        <a:rPr lang="en-GB" sz="1200" b="0" dirty="0" err="1">
                          <a:solidFill>
                            <a:schemeClr val="tx1"/>
                          </a:solidFill>
                          <a:latin typeface="+mj-lt"/>
                        </a:rPr>
                        <a:t>Alcance</a:t>
                      </a:r>
                      <a:endParaRPr lang="en-GB" sz="1200" b="0" dirty="0">
                        <a:solidFill>
                          <a:schemeClr val="tx1"/>
                        </a:solidFill>
                        <a:latin typeface="+mj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lumMod val="8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endParaRPr lang="en-GB" sz="1200" dirty="0">
                        <a:solidFill>
                          <a:schemeClr val="tx1"/>
                        </a:solidFill>
                        <a:latin typeface="+mn-lt"/>
                      </a:endParaRPr>
                    </a:p>
                  </a:txBody>
                  <a:tcPr marL="120949" marR="120949" marT="60475" marB="60475">
                    <a:lnL w="12700" cmpd="sng">
                      <a:noFill/>
                    </a:lnL>
                    <a:lnR w="12700" cmpd="sng">
                      <a:noFill/>
                    </a:lnR>
                    <a:lnT w="12700" cap="flat" cmpd="sng" algn="ctr">
                      <a:solidFill>
                        <a:srgbClr val="011627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3652471"/>
                  </a:ext>
                </a:extLst>
              </a:tr>
            </a:tbl>
          </a:graphicData>
        </a:graphic>
      </p:graphicFrame>
      <p:sp>
        <p:nvSpPr>
          <p:cNvPr id="9" name="Title 8">
            <a:extLst>
              <a:ext uri="{FF2B5EF4-FFF2-40B4-BE49-F238E27FC236}">
                <a16:creationId xmlns:a16="http://schemas.microsoft.com/office/drawing/2014/main" id="{3BF01DDF-4EC1-41C9-0C71-F648071566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3369" y="289685"/>
            <a:ext cx="4838278" cy="1766900"/>
          </a:xfrm>
        </p:spPr>
        <p:txBody>
          <a:bodyPr/>
          <a:lstStyle/>
          <a:p>
            <a:r>
              <a:rPr lang="en-GB" dirty="0"/>
              <a:t>Curvas de </a:t>
            </a:r>
            <a:r>
              <a:rPr lang="en-GB" dirty="0" err="1"/>
              <a:t>alcance</a:t>
            </a:r>
            <a:br>
              <a:rPr lang="en-GB" dirty="0"/>
            </a:br>
            <a:r>
              <a:rPr lang="en-GB" dirty="0">
                <a:solidFill>
                  <a:schemeClr val="tx2"/>
                </a:solidFill>
              </a:rPr>
              <a:t>TV, P18a44</a:t>
            </a:r>
            <a:endParaRPr lang="en-GB" dirty="0"/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0D17DE41-C9A8-B99F-7EB8-C8B2AA36C418}"/>
              </a:ext>
            </a:extLst>
          </p:cNvPr>
          <p:cNvSpPr/>
          <p:nvPr/>
        </p:nvSpPr>
        <p:spPr>
          <a:xfrm>
            <a:off x="8267923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0" name="Freeform 185">
            <a:extLst>
              <a:ext uri="{FF2B5EF4-FFF2-40B4-BE49-F238E27FC236}">
                <a16:creationId xmlns:a16="http://schemas.microsoft.com/office/drawing/2014/main" id="{6F1A9D9F-B643-4EC3-B35E-7BD6985D3F03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8360566" y="2391148"/>
            <a:ext cx="246384" cy="246114"/>
          </a:xfrm>
          <a:custGeom>
            <a:avLst/>
            <a:gdLst>
              <a:gd name="T0" fmla="*/ 497 w 995"/>
              <a:gd name="T1" fmla="*/ 0 h 994"/>
              <a:gd name="T2" fmla="*/ 0 w 995"/>
              <a:gd name="T3" fmla="*/ 497 h 994"/>
              <a:gd name="T4" fmla="*/ 497 w 995"/>
              <a:gd name="T5" fmla="*/ 994 h 994"/>
              <a:gd name="T6" fmla="*/ 995 w 995"/>
              <a:gd name="T7" fmla="*/ 497 h 994"/>
              <a:gd name="T8" fmla="*/ 497 w 995"/>
              <a:gd name="T9" fmla="*/ 0 h 994"/>
              <a:gd name="T10" fmla="*/ 497 w 995"/>
              <a:gd name="T11" fmla="*/ 944 h 994"/>
              <a:gd name="T12" fmla="*/ 50 w 995"/>
              <a:gd name="T13" fmla="*/ 497 h 994"/>
              <a:gd name="T14" fmla="*/ 497 w 995"/>
              <a:gd name="T15" fmla="*/ 49 h 994"/>
              <a:gd name="T16" fmla="*/ 945 w 995"/>
              <a:gd name="T17" fmla="*/ 497 h 994"/>
              <a:gd name="T18" fmla="*/ 497 w 995"/>
              <a:gd name="T19" fmla="*/ 944 h 994"/>
              <a:gd name="T20" fmla="*/ 452 w 995"/>
              <a:gd name="T21" fmla="*/ 271 h 994"/>
              <a:gd name="T22" fmla="*/ 542 w 995"/>
              <a:gd name="T23" fmla="*/ 271 h 994"/>
              <a:gd name="T24" fmla="*/ 542 w 995"/>
              <a:gd name="T25" fmla="*/ 354 h 994"/>
              <a:gd name="T26" fmla="*/ 452 w 995"/>
              <a:gd name="T27" fmla="*/ 354 h 994"/>
              <a:gd name="T28" fmla="*/ 452 w 995"/>
              <a:gd name="T29" fmla="*/ 271 h 994"/>
              <a:gd name="T30" fmla="*/ 452 w 995"/>
              <a:gd name="T31" fmla="*/ 404 h 994"/>
              <a:gd name="T32" fmla="*/ 542 w 995"/>
              <a:gd name="T33" fmla="*/ 404 h 994"/>
              <a:gd name="T34" fmla="*/ 542 w 995"/>
              <a:gd name="T35" fmla="*/ 723 h 994"/>
              <a:gd name="T36" fmla="*/ 452 w 995"/>
              <a:gd name="T37" fmla="*/ 723 h 994"/>
              <a:gd name="T38" fmla="*/ 452 w 995"/>
              <a:gd name="T39" fmla="*/ 404 h 99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</a:cxnLst>
            <a:rect l="0" t="0" r="r" b="b"/>
            <a:pathLst>
              <a:path w="995" h="994">
                <a:moveTo>
                  <a:pt x="497" y="0"/>
                </a:moveTo>
                <a:cubicBezTo>
                  <a:pt x="223" y="0"/>
                  <a:pt x="0" y="222"/>
                  <a:pt x="0" y="497"/>
                </a:cubicBezTo>
                <a:cubicBezTo>
                  <a:pt x="0" y="771"/>
                  <a:pt x="223" y="994"/>
                  <a:pt x="497" y="994"/>
                </a:cubicBezTo>
                <a:cubicBezTo>
                  <a:pt x="772" y="994"/>
                  <a:pt x="995" y="771"/>
                  <a:pt x="995" y="497"/>
                </a:cubicBezTo>
                <a:cubicBezTo>
                  <a:pt x="995" y="222"/>
                  <a:pt x="772" y="0"/>
                  <a:pt x="497" y="0"/>
                </a:cubicBezTo>
                <a:moveTo>
                  <a:pt x="497" y="944"/>
                </a:moveTo>
                <a:cubicBezTo>
                  <a:pt x="251" y="944"/>
                  <a:pt x="50" y="744"/>
                  <a:pt x="50" y="497"/>
                </a:cubicBezTo>
                <a:cubicBezTo>
                  <a:pt x="50" y="250"/>
                  <a:pt x="251" y="49"/>
                  <a:pt x="497" y="49"/>
                </a:cubicBezTo>
                <a:cubicBezTo>
                  <a:pt x="744" y="49"/>
                  <a:pt x="945" y="250"/>
                  <a:pt x="945" y="497"/>
                </a:cubicBezTo>
                <a:cubicBezTo>
                  <a:pt x="945" y="744"/>
                  <a:pt x="744" y="944"/>
                  <a:pt x="497" y="944"/>
                </a:cubicBezTo>
                <a:moveTo>
                  <a:pt x="452" y="271"/>
                </a:moveTo>
                <a:cubicBezTo>
                  <a:pt x="542" y="271"/>
                  <a:pt x="542" y="271"/>
                  <a:pt x="542" y="271"/>
                </a:cubicBezTo>
                <a:cubicBezTo>
                  <a:pt x="542" y="354"/>
                  <a:pt x="542" y="354"/>
                  <a:pt x="542" y="354"/>
                </a:cubicBezTo>
                <a:cubicBezTo>
                  <a:pt x="452" y="354"/>
                  <a:pt x="452" y="354"/>
                  <a:pt x="452" y="354"/>
                </a:cubicBezTo>
                <a:lnTo>
                  <a:pt x="452" y="271"/>
                </a:lnTo>
                <a:close/>
                <a:moveTo>
                  <a:pt x="452" y="404"/>
                </a:moveTo>
                <a:cubicBezTo>
                  <a:pt x="542" y="404"/>
                  <a:pt x="542" y="404"/>
                  <a:pt x="542" y="404"/>
                </a:cubicBezTo>
                <a:cubicBezTo>
                  <a:pt x="542" y="723"/>
                  <a:pt x="542" y="723"/>
                  <a:pt x="542" y="723"/>
                </a:cubicBezTo>
                <a:cubicBezTo>
                  <a:pt x="452" y="723"/>
                  <a:pt x="452" y="723"/>
                  <a:pt x="452" y="723"/>
                </a:cubicBezTo>
                <a:lnTo>
                  <a:pt x="452" y="404"/>
                </a:lnTo>
                <a:close/>
              </a:path>
            </a:pathLst>
          </a:custGeom>
          <a:solidFill>
            <a:srgbClr val="000000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  <a:headEnd/>
                <a:tailEnd/>
              </a14:hiddenLine>
            </a:ext>
          </a:extLst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120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86D4E947-25A2-603B-143B-3A7A6F1DCD89}"/>
              </a:ext>
            </a:extLst>
          </p:cNvPr>
          <p:cNvSpPr txBox="1"/>
          <p:nvPr/>
        </p:nvSpPr>
        <p:spPr bwMode="gray">
          <a:xfrm>
            <a:off x="806550" y="2405150"/>
            <a:ext cx="1606867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en-US" sz="2000" b="1" dirty="0" err="1">
                <a:solidFill>
                  <a:srgbClr val="011627"/>
                </a:solidFill>
                <a:latin typeface="Century Gothic"/>
                <a:cs typeface="AdihausDIN" panose="020B0504020101020102" pitchFamily="34" charset="0"/>
              </a:rPr>
              <a:t>Trp’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dihausDIN" panose="020B0504020101020102" pitchFamily="34" charset="0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AAC81DC2-35CE-4E49-6C80-517E313DB787}"/>
              </a:ext>
            </a:extLst>
          </p:cNvPr>
          <p:cNvSpPr txBox="1"/>
          <p:nvPr/>
        </p:nvSpPr>
        <p:spPr bwMode="gray">
          <a:xfrm>
            <a:off x="8777532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Resultado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41" name="Straight Connector 40">
            <a:extLst>
              <a:ext uri="{FF2B5EF4-FFF2-40B4-BE49-F238E27FC236}">
                <a16:creationId xmlns:a16="http://schemas.microsoft.com/office/drawing/2014/main" id="{A943CDF5-2DC8-A0BF-458B-AF59D04E6C1E}"/>
              </a:ext>
            </a:extLst>
          </p:cNvPr>
          <p:cNvCxnSpPr/>
          <p:nvPr/>
        </p:nvCxnSpPr>
        <p:spPr>
          <a:xfrm>
            <a:off x="4114982" y="2109833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cxnSp>
        <p:nvCxnSpPr>
          <p:cNvPr id="42" name="Straight Connector 41">
            <a:extLst>
              <a:ext uri="{FF2B5EF4-FFF2-40B4-BE49-F238E27FC236}">
                <a16:creationId xmlns:a16="http://schemas.microsoft.com/office/drawing/2014/main" id="{0161FABC-A580-F1FB-107A-83ADCBAE6A53}"/>
              </a:ext>
            </a:extLst>
          </p:cNvPr>
          <p:cNvCxnSpPr/>
          <p:nvPr/>
        </p:nvCxnSpPr>
        <p:spPr>
          <a:xfrm>
            <a:off x="4114982" y="1089811"/>
            <a:ext cx="5868000" cy="0"/>
          </a:xfrm>
          <a:prstGeom prst="line">
            <a:avLst/>
          </a:prstGeom>
          <a:noFill/>
          <a:ln w="1270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47" name="Slide Number Placeholder 46">
            <a:extLst>
              <a:ext uri="{FF2B5EF4-FFF2-40B4-BE49-F238E27FC236}">
                <a16:creationId xmlns:a16="http://schemas.microsoft.com/office/drawing/2014/main" id="{0628E9C6-36B7-2E3F-6B70-CE5AC8F3179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 ExtraLight" pitchFamily="2" charset="77"/>
                <a:ea typeface="+mn-ea"/>
                <a:cs typeface="Poppins Extra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 ExtraLight" pitchFamily="2" charset="77"/>
              <a:ea typeface="+mn-ea"/>
              <a:cs typeface="Poppins ExtraLight" pitchFamily="2" charset="77"/>
            </a:endParaRPr>
          </a:p>
        </p:txBody>
      </p:sp>
      <p:sp>
        <p:nvSpPr>
          <p:cNvPr id="38" name="Tijdelijke aanduiding voor tekst 3">
            <a:extLst>
              <a:ext uri="{FF2B5EF4-FFF2-40B4-BE49-F238E27FC236}">
                <a16:creationId xmlns:a16="http://schemas.microsoft.com/office/drawing/2014/main" id="{6F8452F6-7DE5-FC3A-E2D5-42A27D64F80D}"/>
              </a:ext>
            </a:extLst>
          </p:cNvPr>
          <p:cNvSpPr txBox="1">
            <a:spLocks/>
          </p:cNvSpPr>
          <p:nvPr/>
        </p:nvSpPr>
        <p:spPr>
          <a:xfrm>
            <a:off x="257019" y="2872794"/>
            <a:ext cx="5453291" cy="286471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txBody>
          <a:bodyPr vert="horz" lIns="180000" tIns="0" rIns="180000" bIns="0" rtlCol="0" anchor="ctr">
            <a:noAutofit/>
          </a:bodyPr>
          <a:lstStyle>
            <a:lvl1pPr marL="172799" indent="-172799" algn="l" defTabSz="691195" rtl="0" eaLnBrk="1" latinLnBrk="0" hangingPunct="1">
              <a:lnSpc>
                <a:spcPct val="90000"/>
              </a:lnSpc>
              <a:spcBef>
                <a:spcPts val="756"/>
              </a:spcBef>
              <a:buFont typeface="Arial" panose="020B0604020202020204" pitchFamily="34" charset="0"/>
              <a:buChar char="•"/>
              <a:defRPr sz="211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1839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6399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512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959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5518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900786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46384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91981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37579" indent="-172799" algn="l" defTabSz="691195" rtl="0" eaLnBrk="1" latinLnBrk="0" hangingPunct="1">
              <a:lnSpc>
                <a:spcPct val="90000"/>
              </a:lnSpc>
              <a:spcBef>
                <a:spcPts val="378"/>
              </a:spcBef>
              <a:buFont typeface="Arial" panose="020B0604020202020204" pitchFamily="34" charset="0"/>
              <a:buChar char="•"/>
              <a:defRPr sz="136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244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highlight>
                <a:srgbClr val="FFFF00"/>
              </a:highlight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cxnSp>
        <p:nvCxnSpPr>
          <p:cNvPr id="49" name="Straight Connector 48">
            <a:extLst>
              <a:ext uri="{FF2B5EF4-FFF2-40B4-BE49-F238E27FC236}">
                <a16:creationId xmlns:a16="http://schemas.microsoft.com/office/drawing/2014/main" id="{29262D76-9A16-683A-1C06-91084C0C5A34}"/>
              </a:ext>
            </a:extLst>
          </p:cNvPr>
          <p:cNvCxnSpPr/>
          <p:nvPr/>
        </p:nvCxnSpPr>
        <p:spPr>
          <a:xfrm>
            <a:off x="247518" y="2869619"/>
            <a:ext cx="5472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4" name="Group 13">
            <a:extLst>
              <a:ext uri="{FF2B5EF4-FFF2-40B4-BE49-F238E27FC236}">
                <a16:creationId xmlns:a16="http://schemas.microsoft.com/office/drawing/2014/main" id="{6BE546B9-4FE3-5E3F-7EDA-82F26FC062A1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12" name="Round Same-side Corner of Rectangle 28">
              <a:extLst>
                <a:ext uri="{FF2B5EF4-FFF2-40B4-BE49-F238E27FC236}">
                  <a16:creationId xmlns:a16="http://schemas.microsoft.com/office/drawing/2014/main" id="{A19B98B2-C6B4-7F47-E38E-ECE7CD422F57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22" name="Group 33">
              <a:extLst>
                <a:ext uri="{FF2B5EF4-FFF2-40B4-BE49-F238E27FC236}">
                  <a16:creationId xmlns:a16="http://schemas.microsoft.com/office/drawing/2014/main" id="{B06F0F45-BCA4-6721-9483-7968675F81AA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40" name="Oval 44">
                <a:extLst>
                  <a:ext uri="{FF2B5EF4-FFF2-40B4-BE49-F238E27FC236}">
                    <a16:creationId xmlns:a16="http://schemas.microsoft.com/office/drawing/2014/main" id="{110A085F-A824-0FBB-3426-B83C71C2CA50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43" name="TextBox 45">
                <a:extLst>
                  <a:ext uri="{FF2B5EF4-FFF2-40B4-BE49-F238E27FC236}">
                    <a16:creationId xmlns:a16="http://schemas.microsoft.com/office/drawing/2014/main" id="{330EE13E-FA8C-A7B8-3A95-50714C9544DE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4" name="Google Shape;1194;p40">
              <a:extLst>
                <a:ext uri="{FF2B5EF4-FFF2-40B4-BE49-F238E27FC236}">
                  <a16:creationId xmlns:a16="http://schemas.microsoft.com/office/drawing/2014/main" id="{E1F879EC-0902-AB19-CDA3-CE22BD08CAE3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" name="TextBox 30">
            <a:extLst>
              <a:ext uri="{FF2B5EF4-FFF2-40B4-BE49-F238E27FC236}">
                <a16:creationId xmlns:a16="http://schemas.microsoft.com/office/drawing/2014/main" id="{EF61E2C5-FAD4-7661-6C65-34B1404AE92E}"/>
              </a:ext>
            </a:extLst>
          </p:cNvPr>
          <p:cNvSpPr txBox="1"/>
          <p:nvPr/>
        </p:nvSpPr>
        <p:spPr bwMode="gray">
          <a:xfrm>
            <a:off x="4185007" y="793516"/>
            <a:ext cx="5318757" cy="215444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Anunciante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de la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competencia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 con mayor </a:t>
            </a:r>
            <a:r>
              <a:rPr kumimoji="0" lang="en-US" sz="1400" i="0" u="none" strike="noStrike" kern="1200" cap="none" spc="0" normalizeH="0" baseline="0" noProof="0" dirty="0" err="1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actividad</a:t>
            </a:r>
            <a:r>
              <a:rPr kumimoji="0" lang="en-US" sz="1400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:</a:t>
            </a:r>
          </a:p>
        </p:txBody>
      </p:sp>
      <p:sp>
        <p:nvSpPr>
          <p:cNvPr id="8" name="Oval 31">
            <a:extLst>
              <a:ext uri="{FF2B5EF4-FFF2-40B4-BE49-F238E27FC236}">
                <a16:creationId xmlns:a16="http://schemas.microsoft.com/office/drawing/2014/main" id="{DF920E4F-E050-C785-B38B-439D254E1831}"/>
              </a:ext>
            </a:extLst>
          </p:cNvPr>
          <p:cNvSpPr/>
          <p:nvPr/>
        </p:nvSpPr>
        <p:spPr>
          <a:xfrm>
            <a:off x="251311" y="2303764"/>
            <a:ext cx="431671" cy="431671"/>
          </a:xfrm>
          <a:prstGeom prst="ellipse">
            <a:avLst/>
          </a:prstGeom>
          <a:solidFill>
            <a:schemeClr val="accent1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800" b="0" i="0" u="none" strike="noStrike" kern="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0" name="Freeform 131">
            <a:extLst>
              <a:ext uri="{FF2B5EF4-FFF2-40B4-BE49-F238E27FC236}">
                <a16:creationId xmlns:a16="http://schemas.microsoft.com/office/drawing/2014/main" id="{74C148ED-22C7-1849-449F-416766339464}"/>
              </a:ext>
            </a:extLst>
          </p:cNvPr>
          <p:cNvSpPr>
            <a:spLocks noChangeAspect="1" noEditPoints="1"/>
          </p:cNvSpPr>
          <p:nvPr/>
        </p:nvSpPr>
        <p:spPr bwMode="gray">
          <a:xfrm>
            <a:off x="330512" y="2391149"/>
            <a:ext cx="273268" cy="274920"/>
          </a:xfrm>
          <a:custGeom>
            <a:avLst/>
            <a:gdLst>
              <a:gd name="T0" fmla="*/ 1207 w 1207"/>
              <a:gd name="T1" fmla="*/ 1047 h 1207"/>
              <a:gd name="T2" fmla="*/ 1167 w 1207"/>
              <a:gd name="T3" fmla="*/ 1087 h 1207"/>
              <a:gd name="T4" fmla="*/ 1047 w 1207"/>
              <a:gd name="T5" fmla="*/ 1207 h 1207"/>
              <a:gd name="T6" fmla="*/ 1007 w 1207"/>
              <a:gd name="T7" fmla="*/ 1167 h 1207"/>
              <a:gd name="T8" fmla="*/ 1099 w 1207"/>
              <a:gd name="T9" fmla="*/ 1076 h 1207"/>
              <a:gd name="T10" fmla="*/ 188 w 1207"/>
              <a:gd name="T11" fmla="*/ 1076 h 1207"/>
              <a:gd name="T12" fmla="*/ 132 w 1207"/>
              <a:gd name="T13" fmla="*/ 1076 h 1207"/>
              <a:gd name="T14" fmla="*/ 132 w 1207"/>
              <a:gd name="T15" fmla="*/ 1019 h 1207"/>
              <a:gd name="T16" fmla="*/ 132 w 1207"/>
              <a:gd name="T17" fmla="*/ 109 h 1207"/>
              <a:gd name="T18" fmla="*/ 40 w 1207"/>
              <a:gd name="T19" fmla="*/ 200 h 1207"/>
              <a:gd name="T20" fmla="*/ 0 w 1207"/>
              <a:gd name="T21" fmla="*/ 160 h 1207"/>
              <a:gd name="T22" fmla="*/ 120 w 1207"/>
              <a:gd name="T23" fmla="*/ 40 h 1207"/>
              <a:gd name="T24" fmla="*/ 160 w 1207"/>
              <a:gd name="T25" fmla="*/ 0 h 1207"/>
              <a:gd name="T26" fmla="*/ 200 w 1207"/>
              <a:gd name="T27" fmla="*/ 40 h 1207"/>
              <a:gd name="T28" fmla="*/ 320 w 1207"/>
              <a:gd name="T29" fmla="*/ 160 h 1207"/>
              <a:gd name="T30" fmla="*/ 280 w 1207"/>
              <a:gd name="T31" fmla="*/ 200 h 1207"/>
              <a:gd name="T32" fmla="*/ 188 w 1207"/>
              <a:gd name="T33" fmla="*/ 109 h 1207"/>
              <a:gd name="T34" fmla="*/ 188 w 1207"/>
              <a:gd name="T35" fmla="*/ 1019 h 1207"/>
              <a:gd name="T36" fmla="*/ 1099 w 1207"/>
              <a:gd name="T37" fmla="*/ 1019 h 1207"/>
              <a:gd name="T38" fmla="*/ 1007 w 1207"/>
              <a:gd name="T39" fmla="*/ 927 h 1207"/>
              <a:gd name="T40" fmla="*/ 1047 w 1207"/>
              <a:gd name="T41" fmla="*/ 887 h 1207"/>
              <a:gd name="T42" fmla="*/ 1167 w 1207"/>
              <a:gd name="T43" fmla="*/ 1007 h 1207"/>
              <a:gd name="T44" fmla="*/ 1207 w 1207"/>
              <a:gd name="T45" fmla="*/ 1047 h 1207"/>
              <a:gd name="T46" fmla="*/ 300 w 1207"/>
              <a:gd name="T47" fmla="*/ 799 h 1207"/>
              <a:gd name="T48" fmla="*/ 469 w 1207"/>
              <a:gd name="T49" fmla="*/ 481 h 1207"/>
              <a:gd name="T50" fmla="*/ 614 w 1207"/>
              <a:gd name="T51" fmla="*/ 664 h 1207"/>
              <a:gd name="T52" fmla="*/ 784 w 1207"/>
              <a:gd name="T53" fmla="*/ 878 h 1207"/>
              <a:gd name="T54" fmla="*/ 954 w 1207"/>
              <a:gd name="T55" fmla="*/ 597 h 1207"/>
              <a:gd name="T56" fmla="*/ 1164 w 1207"/>
              <a:gd name="T57" fmla="*/ 195 h 1207"/>
              <a:gd name="T58" fmla="*/ 1137 w 1207"/>
              <a:gd name="T59" fmla="*/ 145 h 1207"/>
              <a:gd name="T60" fmla="*/ 900 w 1207"/>
              <a:gd name="T61" fmla="*/ 582 h 1207"/>
              <a:gd name="T62" fmla="*/ 784 w 1207"/>
              <a:gd name="T63" fmla="*/ 821 h 1207"/>
              <a:gd name="T64" fmla="*/ 667 w 1207"/>
              <a:gd name="T65" fmla="*/ 645 h 1207"/>
              <a:gd name="T66" fmla="*/ 457 w 1207"/>
              <a:gd name="T67" fmla="*/ 425 h 1207"/>
              <a:gd name="T68" fmla="*/ 245 w 1207"/>
              <a:gd name="T69" fmla="*/ 787 h 1207"/>
              <a:gd name="T70" fmla="*/ 300 w 1207"/>
              <a:gd name="T71" fmla="*/ 799 h 120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</a:cxnLst>
            <a:rect l="0" t="0" r="r" b="b"/>
            <a:pathLst>
              <a:path w="1207" h="1207">
                <a:moveTo>
                  <a:pt x="1207" y="1047"/>
                </a:moveTo>
                <a:cubicBezTo>
                  <a:pt x="1167" y="1087"/>
                  <a:pt x="1167" y="1087"/>
                  <a:pt x="1167" y="1087"/>
                </a:cubicBezTo>
                <a:cubicBezTo>
                  <a:pt x="1047" y="1207"/>
                  <a:pt x="1047" y="1207"/>
                  <a:pt x="1047" y="1207"/>
                </a:cubicBezTo>
                <a:cubicBezTo>
                  <a:pt x="1007" y="1167"/>
                  <a:pt x="1007" y="1167"/>
                  <a:pt x="1007" y="1167"/>
                </a:cubicBezTo>
                <a:cubicBezTo>
                  <a:pt x="1099" y="1076"/>
                  <a:pt x="1099" y="1076"/>
                  <a:pt x="1099" y="1076"/>
                </a:cubicBezTo>
                <a:cubicBezTo>
                  <a:pt x="188" y="1076"/>
                  <a:pt x="188" y="1076"/>
                  <a:pt x="188" y="1076"/>
                </a:cubicBezTo>
                <a:cubicBezTo>
                  <a:pt x="132" y="1076"/>
                  <a:pt x="132" y="1076"/>
                  <a:pt x="132" y="1076"/>
                </a:cubicBezTo>
                <a:cubicBezTo>
                  <a:pt x="132" y="1019"/>
                  <a:pt x="132" y="1019"/>
                  <a:pt x="132" y="1019"/>
                </a:cubicBezTo>
                <a:cubicBezTo>
                  <a:pt x="132" y="109"/>
                  <a:pt x="132" y="109"/>
                  <a:pt x="132" y="109"/>
                </a:cubicBezTo>
                <a:cubicBezTo>
                  <a:pt x="40" y="200"/>
                  <a:pt x="40" y="200"/>
                  <a:pt x="40" y="200"/>
                </a:cubicBezTo>
                <a:cubicBezTo>
                  <a:pt x="0" y="160"/>
                  <a:pt x="0" y="160"/>
                  <a:pt x="0" y="160"/>
                </a:cubicBezTo>
                <a:cubicBezTo>
                  <a:pt x="120" y="40"/>
                  <a:pt x="120" y="40"/>
                  <a:pt x="120" y="40"/>
                </a:cubicBezTo>
                <a:cubicBezTo>
                  <a:pt x="160" y="0"/>
                  <a:pt x="160" y="0"/>
                  <a:pt x="160" y="0"/>
                </a:cubicBezTo>
                <a:cubicBezTo>
                  <a:pt x="200" y="40"/>
                  <a:pt x="200" y="40"/>
                  <a:pt x="200" y="40"/>
                </a:cubicBezTo>
                <a:cubicBezTo>
                  <a:pt x="320" y="160"/>
                  <a:pt x="320" y="160"/>
                  <a:pt x="320" y="160"/>
                </a:cubicBezTo>
                <a:cubicBezTo>
                  <a:pt x="280" y="200"/>
                  <a:pt x="280" y="200"/>
                  <a:pt x="280" y="200"/>
                </a:cubicBezTo>
                <a:cubicBezTo>
                  <a:pt x="188" y="109"/>
                  <a:pt x="188" y="109"/>
                  <a:pt x="188" y="109"/>
                </a:cubicBezTo>
                <a:cubicBezTo>
                  <a:pt x="188" y="1019"/>
                  <a:pt x="188" y="1019"/>
                  <a:pt x="188" y="1019"/>
                </a:cubicBezTo>
                <a:cubicBezTo>
                  <a:pt x="1099" y="1019"/>
                  <a:pt x="1099" y="1019"/>
                  <a:pt x="1099" y="1019"/>
                </a:cubicBezTo>
                <a:cubicBezTo>
                  <a:pt x="1007" y="927"/>
                  <a:pt x="1007" y="927"/>
                  <a:pt x="1007" y="927"/>
                </a:cubicBezTo>
                <a:cubicBezTo>
                  <a:pt x="1047" y="887"/>
                  <a:pt x="1047" y="887"/>
                  <a:pt x="1047" y="887"/>
                </a:cubicBezTo>
                <a:cubicBezTo>
                  <a:pt x="1167" y="1007"/>
                  <a:pt x="1167" y="1007"/>
                  <a:pt x="1167" y="1007"/>
                </a:cubicBezTo>
                <a:lnTo>
                  <a:pt x="1207" y="1047"/>
                </a:lnTo>
                <a:close/>
                <a:moveTo>
                  <a:pt x="300" y="799"/>
                </a:moveTo>
                <a:cubicBezTo>
                  <a:pt x="338" y="625"/>
                  <a:pt x="408" y="495"/>
                  <a:pt x="469" y="481"/>
                </a:cubicBezTo>
                <a:cubicBezTo>
                  <a:pt x="537" y="465"/>
                  <a:pt x="570" y="543"/>
                  <a:pt x="614" y="664"/>
                </a:cubicBezTo>
                <a:cubicBezTo>
                  <a:pt x="651" y="769"/>
                  <a:pt x="690" y="878"/>
                  <a:pt x="784" y="878"/>
                </a:cubicBezTo>
                <a:cubicBezTo>
                  <a:pt x="878" y="878"/>
                  <a:pt x="913" y="748"/>
                  <a:pt x="954" y="597"/>
                </a:cubicBezTo>
                <a:cubicBezTo>
                  <a:pt x="997" y="438"/>
                  <a:pt x="1046" y="257"/>
                  <a:pt x="1164" y="195"/>
                </a:cubicBezTo>
                <a:cubicBezTo>
                  <a:pt x="1137" y="145"/>
                  <a:pt x="1137" y="145"/>
                  <a:pt x="1137" y="145"/>
                </a:cubicBezTo>
                <a:cubicBezTo>
                  <a:pt x="998" y="219"/>
                  <a:pt x="946" y="412"/>
                  <a:pt x="900" y="582"/>
                </a:cubicBezTo>
                <a:cubicBezTo>
                  <a:pt x="868" y="700"/>
                  <a:pt x="835" y="821"/>
                  <a:pt x="784" y="821"/>
                </a:cubicBezTo>
                <a:cubicBezTo>
                  <a:pt x="730" y="821"/>
                  <a:pt x="698" y="732"/>
                  <a:pt x="667" y="645"/>
                </a:cubicBezTo>
                <a:cubicBezTo>
                  <a:pt x="625" y="529"/>
                  <a:pt x="579" y="398"/>
                  <a:pt x="457" y="425"/>
                </a:cubicBezTo>
                <a:cubicBezTo>
                  <a:pt x="354" y="449"/>
                  <a:pt x="280" y="627"/>
                  <a:pt x="245" y="787"/>
                </a:cubicBezTo>
                <a:lnTo>
                  <a:pt x="300" y="799"/>
                </a:lnTo>
                <a:close/>
              </a:path>
            </a:pathLst>
          </a:custGeom>
          <a:solidFill>
            <a:srgbClr val="011627"/>
          </a:solidFill>
          <a:ln>
            <a:noFill/>
          </a:ln>
        </p:spPr>
        <p:txBody>
          <a:bodyPr vert="horz" wrap="non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661" b="0" i="0" u="none" strike="noStrike" kern="0" cap="none" spc="26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AdihausDIN Cn" charset="0"/>
              <a:cs typeface="AdihausDIN Cn" charset="0"/>
            </a:endParaRPr>
          </a:p>
        </p:txBody>
      </p:sp>
      <p:sp>
        <p:nvSpPr>
          <p:cNvPr id="64" name="CuadroTexto 63">
            <a:extLst>
              <a:ext uri="{FF2B5EF4-FFF2-40B4-BE49-F238E27FC236}">
                <a16:creationId xmlns:a16="http://schemas.microsoft.com/office/drawing/2014/main" id="{88FCAF3F-AEF1-CB72-9689-31972D2D2792}"/>
              </a:ext>
            </a:extLst>
          </p:cNvPr>
          <p:cNvSpPr txBox="1"/>
          <p:nvPr/>
        </p:nvSpPr>
        <p:spPr>
          <a:xfrm>
            <a:off x="5029554" y="1189680"/>
            <a:ext cx="4154138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Uso de TV abierta + TV Paga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Kpi´s en mes bajo: 458 Trp´s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Kpi´s en meses altos: 667 Trp´s  </a:t>
            </a:r>
          </a:p>
          <a:p>
            <a:pPr marL="285750" indent="-285750">
              <a:buFont typeface="Arial" panose="020B0604020202020204" pitchFamily="34" charset="0"/>
              <a:buChar char="•"/>
              <a:defRPr/>
            </a:pPr>
            <a:r>
              <a:rPr lang="es-MX" sz="1200" dirty="0">
                <a:solidFill>
                  <a:srgbClr val="0A0F0D"/>
                </a:solidFill>
                <a:latin typeface="Century Gothic"/>
              </a:rPr>
              <a:t>Duración de spot: 20ss</a:t>
            </a:r>
            <a:endParaRPr lang="es-GT" sz="1200" dirty="0">
              <a:solidFill>
                <a:srgbClr val="0A0F0D"/>
              </a:solidFill>
              <a:latin typeface="Century Gothic"/>
            </a:endParaRPr>
          </a:p>
        </p:txBody>
      </p:sp>
      <p:grpSp>
        <p:nvGrpSpPr>
          <p:cNvPr id="66" name="Group 15">
            <a:extLst>
              <a:ext uri="{FF2B5EF4-FFF2-40B4-BE49-F238E27FC236}">
                <a16:creationId xmlns:a16="http://schemas.microsoft.com/office/drawing/2014/main" id="{B9EC7145-A7AD-9D97-B5D8-D7C6C4197EA8}"/>
              </a:ext>
            </a:extLst>
          </p:cNvPr>
          <p:cNvGrpSpPr/>
          <p:nvPr/>
        </p:nvGrpSpPr>
        <p:grpSpPr>
          <a:xfrm>
            <a:off x="5966162" y="2382950"/>
            <a:ext cx="214434" cy="261022"/>
            <a:chOff x="5757290" y="2898545"/>
            <a:chExt cx="677417" cy="824595"/>
          </a:xfrm>
        </p:grpSpPr>
        <p:sp>
          <p:nvSpPr>
            <p:cNvPr id="67" name="Freeform 43">
              <a:extLst>
                <a:ext uri="{FF2B5EF4-FFF2-40B4-BE49-F238E27FC236}">
                  <a16:creationId xmlns:a16="http://schemas.microsoft.com/office/drawing/2014/main" id="{EDE63BC0-EDC9-FE59-ABFB-2B137D7DF232}"/>
                </a:ext>
              </a:extLst>
            </p:cNvPr>
            <p:cNvSpPr/>
            <p:nvPr/>
          </p:nvSpPr>
          <p:spPr>
            <a:xfrm>
              <a:off x="5757290" y="2898545"/>
              <a:ext cx="677417" cy="824595"/>
            </a:xfrm>
            <a:custGeom>
              <a:avLst/>
              <a:gdLst>
                <a:gd name="connsiteX0" fmla="*/ 677418 w 677417"/>
                <a:gd name="connsiteY0" fmla="*/ 56314 h 824595"/>
                <a:gd name="connsiteX1" fmla="*/ 422910 w 677417"/>
                <a:gd name="connsiteY1" fmla="*/ 56314 h 824595"/>
                <a:gd name="connsiteX2" fmla="*/ 304727 w 677417"/>
                <a:gd name="connsiteY2" fmla="*/ 6591 h 824595"/>
                <a:gd name="connsiteX3" fmla="*/ 254603 w 677417"/>
                <a:gd name="connsiteY3" fmla="*/ 56314 h 824595"/>
                <a:gd name="connsiteX4" fmla="*/ 0 w 677417"/>
                <a:gd name="connsiteY4" fmla="*/ 56314 h 824595"/>
                <a:gd name="connsiteX5" fmla="*/ 0 w 677417"/>
                <a:gd name="connsiteY5" fmla="*/ 824596 h 824595"/>
                <a:gd name="connsiteX6" fmla="*/ 677418 w 677417"/>
                <a:gd name="connsiteY6" fmla="*/ 824596 h 824595"/>
                <a:gd name="connsiteX7" fmla="*/ 283940 w 677417"/>
                <a:gd name="connsiteY7" fmla="*/ 94109 h 824595"/>
                <a:gd name="connsiteX8" fmla="*/ 287179 w 677417"/>
                <a:gd name="connsiteY8" fmla="*/ 79180 h 824595"/>
                <a:gd name="connsiteX9" fmla="*/ 349903 w 677417"/>
                <a:gd name="connsiteY9" fmla="*/ 39072 h 824595"/>
                <a:gd name="connsiteX10" fmla="*/ 390335 w 677417"/>
                <a:gd name="connsiteY10" fmla="*/ 79180 h 824595"/>
                <a:gd name="connsiteX11" fmla="*/ 393573 w 677417"/>
                <a:gd name="connsiteY11" fmla="*/ 94109 h 824595"/>
                <a:gd name="connsiteX12" fmla="*/ 450723 w 677417"/>
                <a:gd name="connsiteY12" fmla="*/ 94109 h 824595"/>
                <a:gd name="connsiteX13" fmla="*/ 450723 w 677417"/>
                <a:gd name="connsiteY13" fmla="*/ 165448 h 824595"/>
                <a:gd name="connsiteX14" fmla="*/ 226790 w 677417"/>
                <a:gd name="connsiteY14" fmla="*/ 165448 h 824595"/>
                <a:gd name="connsiteX15" fmla="*/ 226790 w 677417"/>
                <a:gd name="connsiteY15" fmla="*/ 94109 h 824595"/>
                <a:gd name="connsiteX16" fmla="*/ 639318 w 677417"/>
                <a:gd name="connsiteY16" fmla="*/ 786801 h 824595"/>
                <a:gd name="connsiteX17" fmla="*/ 38100 w 677417"/>
                <a:gd name="connsiteY17" fmla="*/ 786801 h 824595"/>
                <a:gd name="connsiteX18" fmla="*/ 38100 w 677417"/>
                <a:gd name="connsiteY18" fmla="*/ 94109 h 824595"/>
                <a:gd name="connsiteX19" fmla="*/ 188690 w 677417"/>
                <a:gd name="connsiteY19" fmla="*/ 94109 h 824595"/>
                <a:gd name="connsiteX20" fmla="*/ 188690 w 677417"/>
                <a:gd name="connsiteY20" fmla="*/ 203243 h 824595"/>
                <a:gd name="connsiteX21" fmla="*/ 488728 w 677417"/>
                <a:gd name="connsiteY21" fmla="*/ 203243 h 824595"/>
                <a:gd name="connsiteX22" fmla="*/ 488728 w 677417"/>
                <a:gd name="connsiteY22" fmla="*/ 94109 h 824595"/>
                <a:gd name="connsiteX23" fmla="*/ 639318 w 677417"/>
                <a:gd name="connsiteY23" fmla="*/ 94109 h 8245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677417" h="824595">
                  <a:moveTo>
                    <a:pt x="677418" y="56314"/>
                  </a:moveTo>
                  <a:lnTo>
                    <a:pt x="422910" y="56314"/>
                  </a:lnTo>
                  <a:cubicBezTo>
                    <a:pt x="404116" y="10209"/>
                    <a:pt x="351204" y="-12053"/>
                    <a:pt x="304727" y="6591"/>
                  </a:cubicBezTo>
                  <a:cubicBezTo>
                    <a:pt x="281916" y="15741"/>
                    <a:pt x="263827" y="33685"/>
                    <a:pt x="254603" y="56314"/>
                  </a:cubicBezTo>
                  <a:lnTo>
                    <a:pt x="0" y="56314"/>
                  </a:lnTo>
                  <a:lnTo>
                    <a:pt x="0" y="824596"/>
                  </a:lnTo>
                  <a:lnTo>
                    <a:pt x="677418" y="824596"/>
                  </a:lnTo>
                  <a:close/>
                  <a:moveTo>
                    <a:pt x="283940" y="94109"/>
                  </a:moveTo>
                  <a:lnTo>
                    <a:pt x="287179" y="79180"/>
                  </a:lnTo>
                  <a:cubicBezTo>
                    <a:pt x="293335" y="50922"/>
                    <a:pt x="321417" y="32965"/>
                    <a:pt x="349903" y="39072"/>
                  </a:cubicBezTo>
                  <a:cubicBezTo>
                    <a:pt x="370147" y="43412"/>
                    <a:pt x="385960" y="59098"/>
                    <a:pt x="390335" y="79180"/>
                  </a:cubicBezTo>
                  <a:lnTo>
                    <a:pt x="393573" y="94109"/>
                  </a:lnTo>
                  <a:lnTo>
                    <a:pt x="450723" y="94109"/>
                  </a:lnTo>
                  <a:lnTo>
                    <a:pt x="450723" y="165448"/>
                  </a:lnTo>
                  <a:lnTo>
                    <a:pt x="226790" y="165448"/>
                  </a:lnTo>
                  <a:lnTo>
                    <a:pt x="226790" y="94109"/>
                  </a:lnTo>
                  <a:close/>
                  <a:moveTo>
                    <a:pt x="639318" y="786801"/>
                  </a:moveTo>
                  <a:lnTo>
                    <a:pt x="38100" y="786801"/>
                  </a:lnTo>
                  <a:lnTo>
                    <a:pt x="38100" y="94109"/>
                  </a:lnTo>
                  <a:lnTo>
                    <a:pt x="188690" y="94109"/>
                  </a:lnTo>
                  <a:lnTo>
                    <a:pt x="188690" y="203243"/>
                  </a:lnTo>
                  <a:lnTo>
                    <a:pt x="488728" y="203243"/>
                  </a:lnTo>
                  <a:lnTo>
                    <a:pt x="488728" y="94109"/>
                  </a:lnTo>
                  <a:lnTo>
                    <a:pt x="639318" y="94109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8" name="Freeform 44">
              <a:extLst>
                <a:ext uri="{FF2B5EF4-FFF2-40B4-BE49-F238E27FC236}">
                  <a16:creationId xmlns:a16="http://schemas.microsoft.com/office/drawing/2014/main" id="{7D09A10F-77CB-739E-F309-2378B0830C7A}"/>
                </a:ext>
              </a:extLst>
            </p:cNvPr>
            <p:cNvSpPr/>
            <p:nvPr/>
          </p:nvSpPr>
          <p:spPr>
            <a:xfrm>
              <a:off x="5881687" y="3208559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69" name="Freeform 45">
              <a:extLst>
                <a:ext uri="{FF2B5EF4-FFF2-40B4-BE49-F238E27FC236}">
                  <a16:creationId xmlns:a16="http://schemas.microsoft.com/office/drawing/2014/main" id="{799F534B-8BB6-FF88-1D85-36E20FA4196B}"/>
                </a:ext>
              </a:extLst>
            </p:cNvPr>
            <p:cNvSpPr/>
            <p:nvPr/>
          </p:nvSpPr>
          <p:spPr>
            <a:xfrm>
              <a:off x="6079140" y="3263646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0" name="Freeform 46">
              <a:extLst>
                <a:ext uri="{FF2B5EF4-FFF2-40B4-BE49-F238E27FC236}">
                  <a16:creationId xmlns:a16="http://schemas.microsoft.com/office/drawing/2014/main" id="{DCA79E9F-FDB9-5F5A-E1C3-12CAD396D5FD}"/>
                </a:ext>
              </a:extLst>
            </p:cNvPr>
            <p:cNvSpPr/>
            <p:nvPr/>
          </p:nvSpPr>
          <p:spPr>
            <a:xfrm>
              <a:off x="5881687" y="3435330"/>
              <a:ext cx="149161" cy="147968"/>
            </a:xfrm>
            <a:custGeom>
              <a:avLst/>
              <a:gdLst>
                <a:gd name="connsiteX0" fmla="*/ 0 w 149161"/>
                <a:gd name="connsiteY0" fmla="*/ 147968 h 147968"/>
                <a:gd name="connsiteX1" fmla="*/ 149162 w 149161"/>
                <a:gd name="connsiteY1" fmla="*/ 147968 h 147968"/>
                <a:gd name="connsiteX2" fmla="*/ 149162 w 149161"/>
                <a:gd name="connsiteY2" fmla="*/ 0 h 147968"/>
                <a:gd name="connsiteX3" fmla="*/ 0 w 149161"/>
                <a:gd name="connsiteY3" fmla="*/ 0 h 147968"/>
                <a:gd name="connsiteX4" fmla="*/ 38100 w 149161"/>
                <a:gd name="connsiteY4" fmla="*/ 37795 h 147968"/>
                <a:gd name="connsiteX5" fmla="*/ 111062 w 149161"/>
                <a:gd name="connsiteY5" fmla="*/ 37795 h 147968"/>
                <a:gd name="connsiteX6" fmla="*/ 111062 w 149161"/>
                <a:gd name="connsiteY6" fmla="*/ 110173 h 147968"/>
                <a:gd name="connsiteX7" fmla="*/ 38100 w 149161"/>
                <a:gd name="connsiteY7" fmla="*/ 110173 h 14796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</a:cxnLst>
              <a:rect l="l" t="t" r="r" b="b"/>
              <a:pathLst>
                <a:path w="149161" h="147968">
                  <a:moveTo>
                    <a:pt x="0" y="147968"/>
                  </a:moveTo>
                  <a:lnTo>
                    <a:pt x="149162" y="147968"/>
                  </a:lnTo>
                  <a:lnTo>
                    <a:pt x="149162" y="0"/>
                  </a:lnTo>
                  <a:lnTo>
                    <a:pt x="0" y="0"/>
                  </a:lnTo>
                  <a:close/>
                  <a:moveTo>
                    <a:pt x="38100" y="37795"/>
                  </a:moveTo>
                  <a:lnTo>
                    <a:pt x="111062" y="37795"/>
                  </a:lnTo>
                  <a:lnTo>
                    <a:pt x="111062" y="110173"/>
                  </a:lnTo>
                  <a:lnTo>
                    <a:pt x="38100" y="110173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  <p:sp>
          <p:nvSpPr>
            <p:cNvPr id="71" name="Freeform 47">
              <a:extLst>
                <a:ext uri="{FF2B5EF4-FFF2-40B4-BE49-F238E27FC236}">
                  <a16:creationId xmlns:a16="http://schemas.microsoft.com/office/drawing/2014/main" id="{DE427F10-C7E8-FDEE-1CE1-7C7769D29AE0}"/>
                </a:ext>
              </a:extLst>
            </p:cNvPr>
            <p:cNvSpPr/>
            <p:nvPr/>
          </p:nvSpPr>
          <p:spPr>
            <a:xfrm>
              <a:off x="6079140" y="3490417"/>
              <a:ext cx="231171" cy="37795"/>
            </a:xfrm>
            <a:custGeom>
              <a:avLst/>
              <a:gdLst>
                <a:gd name="connsiteX0" fmla="*/ 0 w 231171"/>
                <a:gd name="connsiteY0" fmla="*/ 0 h 37795"/>
                <a:gd name="connsiteX1" fmla="*/ 231172 w 231171"/>
                <a:gd name="connsiteY1" fmla="*/ 0 h 37795"/>
                <a:gd name="connsiteX2" fmla="*/ 231172 w 231171"/>
                <a:gd name="connsiteY2" fmla="*/ 37795 h 37795"/>
                <a:gd name="connsiteX3" fmla="*/ 0 w 231171"/>
                <a:gd name="connsiteY3" fmla="*/ 37795 h 37795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31171" h="37795">
                  <a:moveTo>
                    <a:pt x="0" y="0"/>
                  </a:moveTo>
                  <a:lnTo>
                    <a:pt x="231172" y="0"/>
                  </a:lnTo>
                  <a:lnTo>
                    <a:pt x="231172" y="37795"/>
                  </a:lnTo>
                  <a:lnTo>
                    <a:pt x="0" y="37795"/>
                  </a:lnTo>
                  <a:close/>
                </a:path>
              </a:pathLst>
            </a:custGeom>
            <a:solidFill>
              <a:srgbClr val="000000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8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+mn-cs"/>
              </a:endParaRPr>
            </a:p>
          </p:txBody>
        </p:sp>
      </p:grpSp>
      <p:sp>
        <p:nvSpPr>
          <p:cNvPr id="74" name="TextBox 33">
            <a:extLst>
              <a:ext uri="{FF2B5EF4-FFF2-40B4-BE49-F238E27FC236}">
                <a16:creationId xmlns:a16="http://schemas.microsoft.com/office/drawing/2014/main" id="{AEFD2E9B-5C6F-999A-AE40-9F58EC96418E}"/>
              </a:ext>
            </a:extLst>
          </p:cNvPr>
          <p:cNvSpPr txBox="1"/>
          <p:nvPr/>
        </p:nvSpPr>
        <p:spPr bwMode="gray">
          <a:xfrm>
            <a:off x="6352163" y="2393247"/>
            <a:ext cx="1654478" cy="307777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0">
            <a:spAutoFit/>
          </a:bodyPr>
          <a:lstStyle/>
          <a:p>
            <a:pPr marL="0" marR="0" lvl="0" indent="0" algn="l" defTabSz="1216675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000" b="1" i="0" u="none" strike="noStrike" kern="1200" cap="none" spc="0" normalizeH="0" baseline="0" noProof="0" dirty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Century Gothic"/>
                <a:ea typeface="+mn-ea"/>
                <a:cs typeface="AdihausDIN" panose="020B0504020101020102" pitchFamily="34" charset="0"/>
              </a:rPr>
              <a:t>Canales</a:t>
            </a:r>
            <a:endParaRPr kumimoji="0" lang="en-US" sz="2000" b="1" i="0" u="none" strike="noStrike" kern="1200" cap="none" spc="0" normalizeH="0" baseline="0" noProof="0" dirty="0">
              <a:ln>
                <a:noFill/>
              </a:ln>
              <a:solidFill>
                <a:srgbClr val="011627"/>
              </a:solidFill>
              <a:effectLst/>
              <a:uLnTx/>
              <a:uFillTx/>
              <a:latin typeface="Century Gothic"/>
              <a:ea typeface="+mn-ea"/>
              <a:cs typeface="Arial" charset="0"/>
            </a:endParaRPr>
          </a:p>
        </p:txBody>
      </p:sp>
      <p:cxnSp>
        <p:nvCxnSpPr>
          <p:cNvPr id="75" name="Straight Connector 48">
            <a:extLst>
              <a:ext uri="{FF2B5EF4-FFF2-40B4-BE49-F238E27FC236}">
                <a16:creationId xmlns:a16="http://schemas.microsoft.com/office/drawing/2014/main" id="{D832014C-AE62-6305-4C2E-8017B0D37025}"/>
              </a:ext>
            </a:extLst>
          </p:cNvPr>
          <p:cNvCxnSpPr/>
          <p:nvPr/>
        </p:nvCxnSpPr>
        <p:spPr>
          <a:xfrm>
            <a:off x="5856347" y="2872119"/>
            <a:ext cx="2304000" cy="0"/>
          </a:xfrm>
          <a:prstGeom prst="line">
            <a:avLst/>
          </a:prstGeom>
          <a:ln w="19050">
            <a:solidFill>
              <a:schemeClr val="tx2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Gráfico 2">
            <a:extLst>
              <a:ext uri="{FF2B5EF4-FFF2-40B4-BE49-F238E27FC236}">
                <a16:creationId xmlns:a16="http://schemas.microsoft.com/office/drawing/2014/main" id="{385A786A-E9C6-7543-B6B7-6F5B44D82C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621500187"/>
              </p:ext>
            </p:extLst>
          </p:nvPr>
        </p:nvGraphicFramePr>
        <p:xfrm>
          <a:off x="273369" y="2892127"/>
          <a:ext cx="5406422" cy="277619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52" name="CuadroTexto 51">
            <a:extLst>
              <a:ext uri="{FF2B5EF4-FFF2-40B4-BE49-F238E27FC236}">
                <a16:creationId xmlns:a16="http://schemas.microsoft.com/office/drawing/2014/main" id="{2A13738C-BB0F-7D41-AFDC-10FD919C78F6}"/>
              </a:ext>
            </a:extLst>
          </p:cNvPr>
          <p:cNvSpPr txBox="1"/>
          <p:nvPr/>
        </p:nvSpPr>
        <p:spPr>
          <a:xfrm>
            <a:off x="3804841" y="2527891"/>
            <a:ext cx="914401" cy="338554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HN" sz="800" dirty="0"/>
              <a:t>Temporada lluvia</a:t>
            </a:r>
          </a:p>
        </p:txBody>
      </p:sp>
      <p:pic>
        <p:nvPicPr>
          <p:cNvPr id="55" name="Picture 4" descr="Canal 5 El Líder - Honduras Logo PNG Vector (CDR) Free Download">
            <a:extLst>
              <a:ext uri="{FF2B5EF4-FFF2-40B4-BE49-F238E27FC236}">
                <a16:creationId xmlns:a16="http://schemas.microsoft.com/office/drawing/2014/main" id="{91638F67-2840-0748-8B4F-BC27C805CDC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64407" y="3043215"/>
            <a:ext cx="914401" cy="64617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5" name="Picture 12" descr="HCH Radio | HCH.TV">
            <a:extLst>
              <a:ext uri="{FF2B5EF4-FFF2-40B4-BE49-F238E27FC236}">
                <a16:creationId xmlns:a16="http://schemas.microsoft.com/office/drawing/2014/main" id="{92A10F24-B5F7-2940-9A30-DC860871922C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9239" r="1179" b="34344"/>
          <a:stretch/>
        </p:blipFill>
        <p:spPr bwMode="auto">
          <a:xfrm>
            <a:off x="6367109" y="3841181"/>
            <a:ext cx="1258996" cy="46396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Imagen 6">
            <a:extLst>
              <a:ext uri="{FF2B5EF4-FFF2-40B4-BE49-F238E27FC236}">
                <a16:creationId xmlns:a16="http://schemas.microsoft.com/office/drawing/2014/main" id="{8E2D1789-5CA1-1042-A030-885FC505E86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885286" y="572363"/>
            <a:ext cx="1055124" cy="467514"/>
          </a:xfrm>
          <a:prstGeom prst="rect">
            <a:avLst/>
          </a:prstGeom>
        </p:spPr>
      </p:pic>
      <p:sp>
        <p:nvSpPr>
          <p:cNvPr id="56" name="CuadroTexto 55">
            <a:extLst>
              <a:ext uri="{FF2B5EF4-FFF2-40B4-BE49-F238E27FC236}">
                <a16:creationId xmlns:a16="http://schemas.microsoft.com/office/drawing/2014/main" id="{AE8442A7-59AE-7042-82CB-C2CE39845409}"/>
              </a:ext>
            </a:extLst>
          </p:cNvPr>
          <p:cNvSpPr txBox="1"/>
          <p:nvPr/>
        </p:nvSpPr>
        <p:spPr>
          <a:xfrm>
            <a:off x="2140277" y="2551986"/>
            <a:ext cx="914401" cy="338554"/>
          </a:xfrm>
          <a:prstGeom prst="rect">
            <a:avLst/>
          </a:prstGeom>
          <a:solidFill>
            <a:schemeClr val="accent6"/>
          </a:solidFill>
        </p:spPr>
        <p:txBody>
          <a:bodyPr wrap="square" rtlCol="0">
            <a:spAutoFit/>
          </a:bodyPr>
          <a:lstStyle/>
          <a:p>
            <a:pPr algn="ctr"/>
            <a:r>
              <a:rPr lang="es-HN" sz="800" dirty="0"/>
              <a:t>Temporada lluvia</a:t>
            </a:r>
          </a:p>
        </p:txBody>
      </p:sp>
    </p:spTree>
    <p:extLst>
      <p:ext uri="{BB962C8B-B14F-4D97-AF65-F5344CB8AC3E}">
        <p14:creationId xmlns:p14="http://schemas.microsoft.com/office/powerpoint/2010/main" val="185870537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elevisión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Patrocinio</a:t>
            </a:r>
            <a:r>
              <a:rPr lang="en-GB" dirty="0">
                <a:solidFill>
                  <a:schemeClr val="tx2"/>
                </a:solidFill>
              </a:rPr>
              <a:t> de El </a:t>
            </a:r>
            <a:r>
              <a:rPr lang="en-GB" dirty="0" err="1">
                <a:solidFill>
                  <a:schemeClr val="tx2"/>
                </a:solidFill>
              </a:rPr>
              <a:t>clima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1384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atrocinio</a:t>
            </a:r>
            <a:r>
              <a:rPr kumimoji="0" lang="en-GB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 El </a:t>
            </a:r>
            <a:r>
              <a:rPr kumimoji="0" lang="en-GB" sz="1200" b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lima</a:t>
            </a:r>
            <a:r>
              <a:rPr kumimoji="0" lang="en-GB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</a:t>
            </a:r>
            <a:r>
              <a:rPr kumimoji="0" lang="en-GB" sz="1200" b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en</a:t>
            </a:r>
            <a:r>
              <a:rPr kumimoji="0" lang="en-GB" sz="1200" b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HCH </a:t>
            </a:r>
            <a:r>
              <a:rPr kumimoji="0" lang="en-GB" sz="1200" b="1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Matutino</a:t>
            </a:r>
            <a:r>
              <a:rPr lang="en-GB" sz="1200" b="1" kern="0" dirty="0">
                <a:solidFill>
                  <a:srgbClr val="000000"/>
                </a:solidFill>
                <a:latin typeface="Poppins-Regular"/>
              </a:rPr>
              <a:t>,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spaci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noticias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ubicad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el primer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lugar</a:t>
            </a:r>
            <a:endParaRPr lang="en-GB" sz="1200" kern="0" dirty="0">
              <a:solidFill>
                <a:srgbClr val="000000"/>
              </a:solidFill>
              <a:latin typeface="Poppins-Regular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ermanenci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de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patrocini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durante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tod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el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añ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.</a:t>
            </a:r>
            <a:endParaRPr kumimoji="0" lang="en-GB" sz="120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295493" y="5338479"/>
            <a:ext cx="56205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: HCH Es un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atal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orientado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al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segmento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popular de 18 a 60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año</a:t>
            </a:r>
            <a:r>
              <a:rPr lang="en-GB" sz="1200" kern="0" dirty="0">
                <a:latin typeface="Poppins-SemiBold"/>
              </a:rPr>
              <a:t>. Con el 70% de </a:t>
            </a:r>
            <a:r>
              <a:rPr lang="en-GB" sz="1200" kern="0" dirty="0" err="1">
                <a:latin typeface="Poppins-SemiBold"/>
              </a:rPr>
              <a:t>su</a:t>
            </a:r>
            <a:r>
              <a:rPr lang="en-GB" sz="1200" kern="0" dirty="0">
                <a:latin typeface="Poppins-SemiBold"/>
              </a:rPr>
              <a:t> </a:t>
            </a:r>
            <a:r>
              <a:rPr lang="en-GB" sz="1200" kern="0" dirty="0" err="1">
                <a:latin typeface="Poppins-SemiBold"/>
              </a:rPr>
              <a:t>programación</a:t>
            </a:r>
            <a:r>
              <a:rPr lang="en-GB" sz="1200" kern="0" dirty="0">
                <a:latin typeface="Poppins-SemiBold"/>
              </a:rPr>
              <a:t> </a:t>
            </a:r>
            <a:r>
              <a:rPr lang="en-GB" sz="1200" kern="0" dirty="0" err="1">
                <a:latin typeface="Poppins-SemiBold"/>
              </a:rPr>
              <a:t>enfocado</a:t>
            </a:r>
            <a:r>
              <a:rPr lang="en-GB" sz="1200" kern="0" dirty="0">
                <a:latin typeface="Poppins-SemiBold"/>
              </a:rPr>
              <a:t> </a:t>
            </a:r>
            <a:r>
              <a:rPr lang="en-GB" sz="1200" kern="0" dirty="0" err="1">
                <a:latin typeface="Poppins-SemiBold"/>
              </a:rPr>
              <a:t>en</a:t>
            </a:r>
            <a:r>
              <a:rPr lang="en-GB" sz="1200" kern="0" dirty="0">
                <a:latin typeface="Poppins-SemiBold"/>
              </a:rPr>
              <a:t> </a:t>
            </a:r>
            <a:r>
              <a:rPr lang="en-GB" sz="1200" kern="0" dirty="0" err="1">
                <a:latin typeface="Poppins-SemiBold"/>
              </a:rPr>
              <a:t>noticias</a:t>
            </a:r>
            <a:endParaRPr kumimoji="0" lang="en-GB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sp>
        <p:nvSpPr>
          <p:cNvPr id="27" name="TextBox 14">
            <a:extLst>
              <a:ext uri="{FF2B5EF4-FFF2-40B4-BE49-F238E27FC236}">
                <a16:creationId xmlns:a16="http://schemas.microsoft.com/office/drawing/2014/main" id="{48FB8EC9-B68F-BC4F-8B21-FDC09314DC15}"/>
              </a:ext>
            </a:extLst>
          </p:cNvPr>
          <p:cNvSpPr txBox="1"/>
          <p:nvPr/>
        </p:nvSpPr>
        <p:spPr>
          <a:xfrm>
            <a:off x="203646" y="2792515"/>
            <a:ext cx="2574388" cy="193899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El 60% de la pauta en TV de la categoria de antigripales se concentra en el canal HCH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200" dirty="0"/>
              <a:t>Patrocinio del clima, en este Canal ayuda a incrementar la visibilidad de la marca y contrarresta la competencia.</a:t>
            </a: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endParaRPr kumimoji="0" lang="en-GB" sz="1200" b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pic>
        <p:nvPicPr>
          <p:cNvPr id="24" name="Picture 2" descr="Imagen relacionada">
            <a:extLst>
              <a:ext uri="{FF2B5EF4-FFF2-40B4-BE49-F238E27FC236}">
                <a16:creationId xmlns:a16="http://schemas.microsoft.com/office/drawing/2014/main" id="{E2BAE8D0-BF74-8842-90C9-3458A8286DF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97782" y="941688"/>
            <a:ext cx="1294919" cy="630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0" name="CuadroTexto 29">
            <a:extLst>
              <a:ext uri="{FF2B5EF4-FFF2-40B4-BE49-F238E27FC236}">
                <a16:creationId xmlns:a16="http://schemas.microsoft.com/office/drawing/2014/main" id="{6E2923A1-2D05-544A-96B9-FC9254E3E73D}"/>
              </a:ext>
            </a:extLst>
          </p:cNvPr>
          <p:cNvSpPr txBox="1"/>
          <p:nvPr/>
        </p:nvSpPr>
        <p:spPr>
          <a:xfrm>
            <a:off x="5797782" y="1479794"/>
            <a:ext cx="1099981" cy="276999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HN" sz="1200" b="1" dirty="0">
                <a:solidFill>
                  <a:srgbClr val="7030A0"/>
                </a:solidFill>
              </a:rPr>
              <a:t>GRIPE Y TOS</a:t>
            </a:r>
          </a:p>
        </p:txBody>
      </p:sp>
      <p:pic>
        <p:nvPicPr>
          <p:cNvPr id="17" name="VC_50406524246080000 (online-video-cutter.com) (1).mp4" descr="VC_50406524246080000 (online-video-cutter.com) (1).mp4">
            <a:hlinkClick r:id="" action="ppaction://media"/>
            <a:extLst>
              <a:ext uri="{FF2B5EF4-FFF2-40B4-BE49-F238E27FC236}">
                <a16:creationId xmlns:a16="http://schemas.microsoft.com/office/drawing/2014/main" id="{A39EE1FE-856B-A847-9AEC-C9BAC8B6285F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6"/>
          <a:stretch>
            <a:fillRect/>
          </a:stretch>
        </p:blipFill>
        <p:spPr>
          <a:xfrm>
            <a:off x="6123131" y="1719153"/>
            <a:ext cx="5911219" cy="33302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2619049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94530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17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17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17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17"/>
                  </p:tgtEl>
                </p:cond>
              </p:nextCondLst>
            </p:seq>
          </p:childTnLst>
        </p:cTn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elevisión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Patrocinio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en</a:t>
            </a:r>
            <a:r>
              <a:rPr lang="en-GB" dirty="0">
                <a:solidFill>
                  <a:schemeClr val="tx2"/>
                </a:solidFill>
              </a:rPr>
              <a:t> La </a:t>
            </a:r>
            <a:r>
              <a:rPr lang="en-GB" dirty="0" err="1">
                <a:solidFill>
                  <a:schemeClr val="tx2"/>
                </a:solidFill>
              </a:rPr>
              <a:t>Voz</a:t>
            </a:r>
            <a:r>
              <a:rPr lang="en-GB" dirty="0">
                <a:solidFill>
                  <a:schemeClr val="tx2"/>
                </a:solidFill>
              </a:rPr>
              <a:t> del Pueblo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6683" y="2474983"/>
            <a:ext cx="2360836" cy="161582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100" dirty="0"/>
              <a:t>Se recomienda un espacio en el que los presentadores salgan a la calle a ofrecer el producto acercando la marca a los consumidores y creando un vínculo emocional fuerte, fomenta la interacción creando  cercanía y confianza,.</a:t>
            </a:r>
            <a:endParaRPr kumimoji="0" lang="en-GB" sz="11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34096" y="2534941"/>
            <a:ext cx="2391466" cy="1015663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Patrocinio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l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segmento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“La </a:t>
            </a:r>
            <a:r>
              <a:rPr kumimoji="0" lang="en-GB" sz="12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Voz</a:t>
            </a:r>
            <a:r>
              <a:rPr kumimoji="0" lang="en-GB" sz="12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 del Pueblo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”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en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la </a:t>
            </a:r>
            <a:r>
              <a:rPr lang="en-GB" sz="1200" kern="0" dirty="0" err="1">
                <a:solidFill>
                  <a:srgbClr val="000000"/>
                </a:solidFill>
                <a:latin typeface="Poppins-Regular"/>
              </a:rPr>
              <a:t>Revista</a:t>
            </a:r>
            <a:r>
              <a:rPr lang="en-GB" sz="1200" kern="0" dirty="0">
                <a:solidFill>
                  <a:srgbClr val="000000"/>
                </a:solidFill>
                <a:latin typeface="Poppins-Regular"/>
              </a:rPr>
              <a:t> Que Viva La Vida de HCH</a:t>
            </a: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  <a:p>
            <a:pPr marL="285750" marR="0" lvl="0" indent="-285750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" name="DIGITALIZACION LA VOZ DEL PUEBLO TABCIN.mp4" descr="DIGITALIZACION LA VOZ DEL PUEBLO TABCIN.mp4">
            <a:hlinkClick r:id="" action="ppaction://media"/>
            <a:extLst>
              <a:ext uri="{FF2B5EF4-FFF2-40B4-BE49-F238E27FC236}">
                <a16:creationId xmlns:a16="http://schemas.microsoft.com/office/drawing/2014/main" id="{F320F368-BE05-C54A-A9AA-E5AF099986E8}"/>
              </a:ext>
            </a:extLst>
          </p:cNvPr>
          <p:cNvPicPr>
            <a:picLocks noChangeAspect="1"/>
          </p:cNvPicPr>
          <p:nvPr>
            <a:vide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6144398" y="1719153"/>
            <a:ext cx="5911219" cy="3330264"/>
          </a:xfrm>
          <a:prstGeom prst="rect">
            <a:avLst/>
          </a:prstGeom>
        </p:spPr>
      </p:pic>
      <p:pic>
        <p:nvPicPr>
          <p:cNvPr id="26" name="Picture 2" descr="Imagen relacionada">
            <a:extLst>
              <a:ext uri="{FF2B5EF4-FFF2-40B4-BE49-F238E27FC236}">
                <a16:creationId xmlns:a16="http://schemas.microsoft.com/office/drawing/2014/main" id="{C34C5263-799B-BC4E-8B3E-CF6010BB7AE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692122" y="788953"/>
            <a:ext cx="1294919" cy="63058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8" name="CuadroTexto 27">
            <a:extLst>
              <a:ext uri="{FF2B5EF4-FFF2-40B4-BE49-F238E27FC236}">
                <a16:creationId xmlns:a16="http://schemas.microsoft.com/office/drawing/2014/main" id="{F3E3F244-01FD-F44D-9A00-327E6BE9FD6E}"/>
              </a:ext>
            </a:extLst>
          </p:cNvPr>
          <p:cNvSpPr txBox="1"/>
          <p:nvPr/>
        </p:nvSpPr>
        <p:spPr>
          <a:xfrm>
            <a:off x="6692122" y="1327059"/>
            <a:ext cx="109998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s-HN" sz="1200" b="1" dirty="0">
                <a:solidFill>
                  <a:srgbClr val="00B050"/>
                </a:solidFill>
              </a:rPr>
              <a:t>NOCHE</a:t>
            </a:r>
          </a:p>
        </p:txBody>
      </p:sp>
    </p:spTree>
    <p:extLst>
      <p:ext uri="{BB962C8B-B14F-4D97-AF65-F5344CB8AC3E}">
        <p14:creationId xmlns:p14="http://schemas.microsoft.com/office/powerpoint/2010/main" val="128700091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283384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  <p:video>
              <p:cMediaNode vol="80000">
                <p:cTn id="7" fill="hold" display="0">
                  <p:stCondLst>
                    <p:cond delay="indefinite"/>
                  </p:stCondLst>
                </p:cTn>
                <p:tgtEl>
                  <p:spTgt spid="2"/>
                </p:tgtEl>
              </p:cMediaNode>
            </p:video>
            <p:seq concurrent="1" nextAc="seek">
              <p:cTn id="8" restart="whenNotActive" fill="hold" evtFilter="cancelBubble" nodeType="interactiveSeq">
                <p:stCondLst>
                  <p:cond evt="onClick" delay="0">
                    <p:tgtEl>
                      <p:spTgt spid="2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9" fill="hold">
                      <p:stCondLst>
                        <p:cond delay="0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2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togglePause">
                                      <p:cBhvr>
                                        <p:cTn id="12" dur="1" fill="hold"/>
                                        <p:tgtEl>
                                          <p:spTgt spid="2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"/>
                  </p:tgtEl>
                </p:cond>
              </p:nextCondLst>
            </p:seq>
          </p:childTnLst>
        </p:cTn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BA56457-32FB-1C6C-E6DC-28BBADE7404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800" b="0" i="1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09CF69E-294F-6FC7-2BEA-AFFC1E38F2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E71DB5-5680-5541-BB1B-1B8E18C31C82}" type="slidenum">
              <a:rPr kumimoji="0" lang="en-GB" sz="800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Poppins Light" pitchFamily="2" charset="77"/>
                <a:ea typeface="+mn-ea"/>
                <a:cs typeface="Poppins Light" pitchFamily="2" charset="77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GB" sz="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Poppins Light" pitchFamily="2" charset="77"/>
              <a:ea typeface="+mn-ea"/>
              <a:cs typeface="Poppins Light" pitchFamily="2" charset="77"/>
            </a:endParaRPr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0568EE2D-F3AA-1957-572E-279AD6C844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3647" y="566134"/>
            <a:ext cx="5039121" cy="1088701"/>
          </a:xfrm>
        </p:spPr>
        <p:txBody>
          <a:bodyPr/>
          <a:lstStyle/>
          <a:p>
            <a:r>
              <a:rPr lang="en-GB" dirty="0"/>
              <a:t>Televisión</a:t>
            </a:r>
            <a:br>
              <a:rPr lang="en-GB" dirty="0"/>
            </a:br>
            <a:r>
              <a:rPr lang="en-GB" dirty="0" err="1">
                <a:solidFill>
                  <a:schemeClr val="tx2"/>
                </a:solidFill>
              </a:rPr>
              <a:t>Patrocinio</a:t>
            </a:r>
            <a:r>
              <a:rPr lang="en-GB" dirty="0">
                <a:solidFill>
                  <a:schemeClr val="tx2"/>
                </a:solidFill>
              </a:rPr>
              <a:t> </a:t>
            </a:r>
            <a:r>
              <a:rPr lang="en-GB" dirty="0" err="1">
                <a:solidFill>
                  <a:schemeClr val="tx2"/>
                </a:solidFill>
              </a:rPr>
              <a:t>Eventos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3C4F59B-2B95-275C-854F-3E352B09150B}"/>
              </a:ext>
            </a:extLst>
          </p:cNvPr>
          <p:cNvSpPr/>
          <p:nvPr/>
        </p:nvSpPr>
        <p:spPr>
          <a:xfrm>
            <a:off x="20364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E4E13DC8-B956-2511-D244-7ACE77BAAB4F}"/>
              </a:ext>
            </a:extLst>
          </p:cNvPr>
          <p:cNvSpPr txBox="1"/>
          <p:nvPr/>
        </p:nvSpPr>
        <p:spPr>
          <a:xfrm>
            <a:off x="316683" y="2015704"/>
            <a:ext cx="1226618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Racional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77BAAB6-6C27-E2DD-0709-18A8879F191F}"/>
              </a:ext>
            </a:extLst>
          </p:cNvPr>
          <p:cNvSpPr txBox="1"/>
          <p:nvPr/>
        </p:nvSpPr>
        <p:spPr>
          <a:xfrm>
            <a:off x="319303" y="2759685"/>
            <a:ext cx="2360836" cy="224676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000" dirty="0"/>
              <a:t>Se busca  tener presencia en uno de los festivales más importantes del país, donde se concentra un alto tráfico de personas y que se realiza en un mes en donde la temporada de lluvia es fuerte.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s-HN" sz="1000" dirty="0"/>
              <a:t>Estos eventos son oportunidades ideales para interactuar con el público, aumentar la visibilidad de la marca y generar conexiones significativas con los consumidores.</a:t>
            </a: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cxnSp>
        <p:nvCxnSpPr>
          <p:cNvPr id="12" name="Straight Connector 11">
            <a:extLst>
              <a:ext uri="{FF2B5EF4-FFF2-40B4-BE49-F238E27FC236}">
                <a16:creationId xmlns:a16="http://schemas.microsoft.com/office/drawing/2014/main" id="{D928A209-6AD1-D4E9-5166-93544FE65A7C}"/>
              </a:ext>
            </a:extLst>
          </p:cNvPr>
          <p:cNvCxnSpPr/>
          <p:nvPr/>
        </p:nvCxnSpPr>
        <p:spPr>
          <a:xfrm>
            <a:off x="316683" y="2449354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Rectangle 12">
            <a:extLst>
              <a:ext uri="{FF2B5EF4-FFF2-40B4-BE49-F238E27FC236}">
                <a16:creationId xmlns:a16="http://schemas.microsoft.com/office/drawing/2014/main" id="{24127A62-FFB1-C37B-AC88-C2B873EEE6B0}"/>
              </a:ext>
            </a:extLst>
          </p:cNvPr>
          <p:cNvSpPr/>
          <p:nvPr/>
        </p:nvSpPr>
        <p:spPr>
          <a:xfrm>
            <a:off x="3234096" y="1719153"/>
            <a:ext cx="2774593" cy="333026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68743EBF-13BC-CDC0-296B-8A9DCCA274DD}"/>
              </a:ext>
            </a:extLst>
          </p:cNvPr>
          <p:cNvSpPr txBox="1"/>
          <p:nvPr/>
        </p:nvSpPr>
        <p:spPr>
          <a:xfrm>
            <a:off x="3347133" y="2015704"/>
            <a:ext cx="1064715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b="1" kern="0" dirty="0" err="1">
                <a:solidFill>
                  <a:srgbClr val="00BCFF"/>
                </a:solidFill>
                <a:latin typeface="Poppins-SemiBold"/>
              </a:rPr>
              <a:t>Táctico</a:t>
            </a:r>
            <a:endParaRPr kumimoji="0" lang="en-GB" sz="1800" b="1" i="0" u="none" strike="noStrike" kern="0" cap="none" spc="0" normalizeH="0" baseline="0" noProof="0" dirty="0">
              <a:ln>
                <a:noFill/>
              </a:ln>
              <a:solidFill>
                <a:srgbClr val="00BCFF"/>
              </a:solidFill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63A935C-CF83-75AB-4473-27CB9CFBA4CE}"/>
              </a:ext>
            </a:extLst>
          </p:cNvPr>
          <p:cNvSpPr txBox="1"/>
          <p:nvPr/>
        </p:nvSpPr>
        <p:spPr>
          <a:xfrm>
            <a:off x="3296588" y="2759685"/>
            <a:ext cx="2391466" cy="178510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Alianza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con uno de los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canale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televisión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que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patrocinan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esto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tipo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de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evento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y que son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transmitido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a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nivel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nacional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: Canal 5 , HCH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Brandeo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de la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marca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regalando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sombrillas</a:t>
            </a:r>
            <a:r>
              <a:rPr lang="en-GB" sz="1000" kern="0" dirty="0">
                <a:solidFill>
                  <a:srgbClr val="000000"/>
                </a:solidFill>
                <a:latin typeface="Poppins-Regular"/>
              </a:rPr>
              <a:t> a los </a:t>
            </a:r>
            <a:r>
              <a:rPr lang="en-GB" sz="1000" kern="0" dirty="0" err="1">
                <a:solidFill>
                  <a:srgbClr val="000000"/>
                </a:solidFill>
                <a:latin typeface="Poppins-Regular"/>
              </a:rPr>
              <a:t>asistentes</a:t>
            </a:r>
            <a:endParaRPr lang="en-GB" sz="1000" kern="0" dirty="0">
              <a:solidFill>
                <a:srgbClr val="000000"/>
              </a:solidFill>
              <a:latin typeface="Poppins-Regular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1000" b="0" i="1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kumimoji="0" lang="en-GB" sz="1000" b="0" i="1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rPr>
              <a:t>CARNAVAL DE TEGUCIGALPA - SEPT</a:t>
            </a: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35AEDC78-4351-AD34-8921-EA8B445979B8}"/>
              </a:ext>
            </a:extLst>
          </p:cNvPr>
          <p:cNvCxnSpPr/>
          <p:nvPr/>
        </p:nvCxnSpPr>
        <p:spPr>
          <a:xfrm>
            <a:off x="3347133" y="2470622"/>
            <a:ext cx="1731817" cy="0"/>
          </a:xfrm>
          <a:prstGeom prst="line">
            <a:avLst/>
          </a:prstGeom>
          <a:ln w="12700">
            <a:solidFill>
              <a:schemeClr val="accent1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>
            <a:extLst>
              <a:ext uri="{FF2B5EF4-FFF2-40B4-BE49-F238E27FC236}">
                <a16:creationId xmlns:a16="http://schemas.microsoft.com/office/drawing/2014/main" id="{671E0D01-70FB-43A5-FE75-B5C30F880462}"/>
              </a:ext>
            </a:extLst>
          </p:cNvPr>
          <p:cNvSpPr/>
          <p:nvPr/>
        </p:nvSpPr>
        <p:spPr>
          <a:xfrm>
            <a:off x="203647" y="5229237"/>
            <a:ext cx="5804245" cy="86071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2000" r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endParaRPr kumimoji="0" lang="en-GB" sz="16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Poppins-Regular"/>
              <a:ea typeface="+mn-ea"/>
              <a:cs typeface="+mn-cs"/>
            </a:endParaRP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74EF0074-1786-0908-11FD-1EF0D3D6644D}"/>
              </a:ext>
            </a:extLst>
          </p:cNvPr>
          <p:cNvSpPr txBox="1"/>
          <p:nvPr/>
        </p:nvSpPr>
        <p:spPr>
          <a:xfrm>
            <a:off x="387341" y="5463007"/>
            <a:ext cx="5620551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1800" b="1" i="0" u="none" strike="noStrike" kern="0" cap="none" spc="0" normalizeH="0" baseline="0" noProof="0" dirty="0" err="1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Observaciones</a:t>
            </a:r>
            <a:r>
              <a:rPr kumimoji="0" lang="en-GB" sz="1800" b="1" i="0" u="none" strike="noStrike" kern="0" cap="none" spc="0" normalizeH="0" baseline="0" noProof="0" dirty="0">
                <a:ln>
                  <a:noFill/>
                </a:ln>
                <a:solidFill>
                  <a:srgbClr val="00BCFF"/>
                </a:solidFill>
                <a:effectLst/>
                <a:uLnTx/>
                <a:uFillTx/>
                <a:latin typeface="Poppins-SemiBold"/>
                <a:ea typeface="+mn-ea"/>
                <a:cs typeface="+mn-cs"/>
              </a:rPr>
              <a:t> : 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HCH y TVC son la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empresa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televisiva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que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patrocinan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 los 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festivales</a:t>
            </a:r>
            <a:r>
              <a:rPr kumimoji="0" lang="en-GB" sz="1200" i="0" u="none" strike="noStrike" kern="0" cap="none" spc="0" normalizeH="0" baseline="0" noProof="0" dirty="0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/</a:t>
            </a:r>
            <a:r>
              <a:rPr kumimoji="0" lang="en-GB" sz="1200" i="0" u="none" strike="noStrike" kern="0" cap="none" spc="0" normalizeH="0" baseline="0" noProof="0" dirty="0" err="1">
                <a:ln>
                  <a:noFill/>
                </a:ln>
                <a:effectLst/>
                <a:uLnTx/>
                <a:uFillTx/>
                <a:latin typeface="Poppins-SemiBold"/>
                <a:ea typeface="+mn-ea"/>
                <a:cs typeface="+mn-cs"/>
              </a:rPr>
              <a:t>carnavales</a:t>
            </a:r>
            <a:r>
              <a:rPr lang="en-GB" sz="1200" kern="0" dirty="0">
                <a:latin typeface="Poppins-SemiBold"/>
              </a:rPr>
              <a:t>, con la </a:t>
            </a:r>
            <a:r>
              <a:rPr lang="en-GB" sz="1200" kern="0" dirty="0" err="1">
                <a:latin typeface="Poppins-SemiBold"/>
              </a:rPr>
              <a:t>participación</a:t>
            </a:r>
            <a:r>
              <a:rPr lang="en-GB" sz="1200" kern="0" dirty="0">
                <a:latin typeface="Poppins-SemiBold"/>
              </a:rPr>
              <a:t> de </a:t>
            </a:r>
            <a:r>
              <a:rPr lang="en-GB" sz="1200" kern="0" dirty="0" err="1">
                <a:latin typeface="Poppins-SemiBold"/>
              </a:rPr>
              <a:t>artistas</a:t>
            </a:r>
            <a:r>
              <a:rPr lang="en-GB" sz="1200" kern="0" dirty="0">
                <a:latin typeface="Poppins-SemiBold"/>
              </a:rPr>
              <a:t> </a:t>
            </a:r>
            <a:r>
              <a:rPr lang="en-GB" sz="1200" kern="0" dirty="0" err="1">
                <a:latin typeface="Poppins-SemiBold"/>
              </a:rPr>
              <a:t>internaciones</a:t>
            </a:r>
            <a:r>
              <a:rPr lang="en-GB" sz="1200" kern="0" dirty="0">
                <a:latin typeface="Poppins-SemiBold"/>
              </a:rPr>
              <a:t> .</a:t>
            </a:r>
            <a:endParaRPr kumimoji="0" lang="en-GB" sz="1200" i="0" u="none" strike="noStrike" kern="0" cap="none" spc="0" normalizeH="0" baseline="0" noProof="0" dirty="0">
              <a:ln>
                <a:noFill/>
              </a:ln>
              <a:effectLst/>
              <a:uLnTx/>
              <a:uFillTx/>
              <a:latin typeface="Poppins-SemiBold"/>
              <a:ea typeface="+mn-ea"/>
              <a:cs typeface="+mn-cs"/>
            </a:endParaRPr>
          </a:p>
        </p:txBody>
      </p:sp>
      <p:grpSp>
        <p:nvGrpSpPr>
          <p:cNvPr id="5" name="Group 13">
            <a:extLst>
              <a:ext uri="{FF2B5EF4-FFF2-40B4-BE49-F238E27FC236}">
                <a16:creationId xmlns:a16="http://schemas.microsoft.com/office/drawing/2014/main" id="{DC492BB2-6FDB-5842-4BC7-94E103AB1D48}"/>
              </a:ext>
            </a:extLst>
          </p:cNvPr>
          <p:cNvGrpSpPr/>
          <p:nvPr/>
        </p:nvGrpSpPr>
        <p:grpSpPr>
          <a:xfrm>
            <a:off x="10154862" y="-67235"/>
            <a:ext cx="1681453" cy="574871"/>
            <a:chOff x="10154862" y="-67235"/>
            <a:chExt cx="1681453" cy="574871"/>
          </a:xfrm>
        </p:grpSpPr>
        <p:sp>
          <p:nvSpPr>
            <p:cNvPr id="6" name="Round Same-side Corner of Rectangle 28">
              <a:extLst>
                <a:ext uri="{FF2B5EF4-FFF2-40B4-BE49-F238E27FC236}">
                  <a16:creationId xmlns:a16="http://schemas.microsoft.com/office/drawing/2014/main" id="{415ECBED-C970-6881-65D5-DD0DBE10E626}"/>
                </a:ext>
              </a:extLst>
            </p:cNvPr>
            <p:cNvSpPr/>
            <p:nvPr/>
          </p:nvSpPr>
          <p:spPr>
            <a:xfrm rot="10800000">
              <a:off x="10154862" y="-67235"/>
              <a:ext cx="1681453" cy="574871"/>
            </a:xfrm>
            <a:prstGeom prst="round2SameRect">
              <a:avLst>
                <a:gd name="adj1" fmla="val 24269"/>
                <a:gd name="adj2" fmla="val 0"/>
              </a:avLst>
            </a:prstGeom>
            <a:solidFill>
              <a:schemeClr val="bg2"/>
            </a:solidFill>
            <a:ln w="12700">
              <a:solidFill>
                <a:schemeClr val="accent2"/>
              </a:solidFill>
            </a:ln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lIns="72000" rIns="72000"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10000"/>
                </a:lnSpc>
                <a:spcBef>
                  <a:spcPts val="0"/>
                </a:spcBef>
                <a:spcAft>
                  <a:spcPts val="60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Poppins-Regular"/>
                <a:ea typeface="+mn-ea"/>
                <a:cs typeface="+mn-cs"/>
              </a:endParaRPr>
            </a:p>
          </p:txBody>
        </p:sp>
        <p:grpSp>
          <p:nvGrpSpPr>
            <p:cNvPr id="8" name="Group 33">
              <a:extLst>
                <a:ext uri="{FF2B5EF4-FFF2-40B4-BE49-F238E27FC236}">
                  <a16:creationId xmlns:a16="http://schemas.microsoft.com/office/drawing/2014/main" id="{477C802B-FCFA-12CB-1727-9A2197A5E9A4}"/>
                </a:ext>
              </a:extLst>
            </p:cNvPr>
            <p:cNvGrpSpPr/>
            <p:nvPr/>
          </p:nvGrpSpPr>
          <p:grpSpPr>
            <a:xfrm>
              <a:off x="10337275" y="124456"/>
              <a:ext cx="1455794" cy="307777"/>
              <a:chOff x="1940295" y="2086507"/>
              <a:chExt cx="3070203" cy="649088"/>
            </a:xfrm>
          </p:grpSpPr>
          <p:sp>
            <p:nvSpPr>
              <p:cNvPr id="22" name="Oval 44">
                <a:extLst>
                  <a:ext uri="{FF2B5EF4-FFF2-40B4-BE49-F238E27FC236}">
                    <a16:creationId xmlns:a16="http://schemas.microsoft.com/office/drawing/2014/main" id="{9582B02B-CE28-F148-7F50-A02B71EFAE53}"/>
                  </a:ext>
                </a:extLst>
              </p:cNvPr>
              <p:cNvSpPr/>
              <p:nvPr/>
            </p:nvSpPr>
            <p:spPr>
              <a:xfrm>
                <a:off x="1940295" y="2112019"/>
                <a:ext cx="598068" cy="598066"/>
              </a:xfrm>
              <a:prstGeom prst="ellipse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72000" rIns="72000"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10000"/>
                  </a:lnSpc>
                  <a:spcBef>
                    <a:spcPts val="0"/>
                  </a:spcBef>
                  <a:spcAft>
                    <a:spcPts val="60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US" sz="10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Poppins-Regular"/>
                  <a:ea typeface="+mn-ea"/>
                  <a:cs typeface="+mn-cs"/>
                </a:endParaRPr>
              </a:p>
            </p:txBody>
          </p:sp>
          <p:sp>
            <p:nvSpPr>
              <p:cNvPr id="23" name="TextBox 45">
                <a:extLst>
                  <a:ext uri="{FF2B5EF4-FFF2-40B4-BE49-F238E27FC236}">
                    <a16:creationId xmlns:a16="http://schemas.microsoft.com/office/drawing/2014/main" id="{14AA35F5-D6FA-CA20-836B-4D4726CDBDCA}"/>
                  </a:ext>
                </a:extLst>
              </p:cNvPr>
              <p:cNvSpPr txBox="1"/>
              <p:nvPr/>
            </p:nvSpPr>
            <p:spPr>
              <a:xfrm>
                <a:off x="2518275" y="2086507"/>
                <a:ext cx="2492223" cy="649088"/>
              </a:xfrm>
              <a:prstGeom prst="rect">
                <a:avLst/>
              </a:prstGeom>
              <a:noFill/>
            </p:spPr>
            <p:txBody>
              <a:bodyPr wrap="none" rtlCol="0" anchor="ctr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n-GB" sz="1400" b="1" i="0" u="none" strike="noStrike" kern="0" cap="none" spc="0" normalizeH="0" baseline="0" noProof="0" err="1">
                    <a:ln>
                      <a:noFill/>
                    </a:ln>
                    <a:solidFill>
                      <a:srgbClr val="89D328"/>
                    </a:solidFill>
                    <a:effectLst/>
                    <a:uLnTx/>
                    <a:uFillTx/>
                    <a:latin typeface="Poppins-SemiBold"/>
                    <a:ea typeface="+mn-ea"/>
                    <a:cs typeface="+mn-cs"/>
                  </a:rPr>
                  <a:t>Activación</a:t>
                </a:r>
                <a:endParaRPr kumimoji="0" lang="en-GB" sz="1400" b="1" i="0" u="none" strike="noStrike" kern="0" cap="none" spc="0" normalizeH="0" baseline="0" noProof="0">
                  <a:ln>
                    <a:noFill/>
                  </a:ln>
                  <a:solidFill>
                    <a:srgbClr val="89D328"/>
                  </a:solidFill>
                  <a:effectLst/>
                  <a:uLnTx/>
                  <a:uFillTx/>
                  <a:latin typeface="Poppins-SemiBold"/>
                  <a:ea typeface="+mn-ea"/>
                  <a:cs typeface="+mn-cs"/>
                </a:endParaRPr>
              </a:p>
            </p:txBody>
          </p:sp>
        </p:grpSp>
        <p:sp>
          <p:nvSpPr>
            <p:cNvPr id="21" name="Google Shape;1194;p40">
              <a:extLst>
                <a:ext uri="{FF2B5EF4-FFF2-40B4-BE49-F238E27FC236}">
                  <a16:creationId xmlns:a16="http://schemas.microsoft.com/office/drawing/2014/main" id="{958C6EAF-A324-09F8-B05F-35C5F0456DEF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0372050" y="194620"/>
              <a:ext cx="205720" cy="170505"/>
            </a:xfrm>
            <a:custGeom>
              <a:avLst/>
              <a:gdLst/>
              <a:ahLst/>
              <a:cxnLst>
                <a:cxn ang="0">
                  <a:pos x="wd2" y="hd2"/>
                </a:cxn>
                <a:cxn ang="5400000">
                  <a:pos x="wd2" y="hd2"/>
                </a:cxn>
                <a:cxn ang="10800000">
                  <a:pos x="wd2" y="hd2"/>
                </a:cxn>
                <a:cxn ang="16200000">
                  <a:pos x="wd2" y="hd2"/>
                </a:cxn>
              </a:cxnLst>
              <a:rect l="0" t="0" r="r" b="b"/>
              <a:pathLst>
                <a:path w="21481" h="21576" extrusionOk="0">
                  <a:moveTo>
                    <a:pt x="7840" y="37"/>
                  </a:moveTo>
                  <a:cubicBezTo>
                    <a:pt x="7725" y="-14"/>
                    <a:pt x="7599" y="-12"/>
                    <a:pt x="7477" y="44"/>
                  </a:cubicBezTo>
                  <a:lnTo>
                    <a:pt x="6944" y="297"/>
                  </a:lnTo>
                  <a:cubicBezTo>
                    <a:pt x="6700" y="413"/>
                    <a:pt x="6565" y="730"/>
                    <a:pt x="6630" y="1037"/>
                  </a:cubicBezTo>
                  <a:lnTo>
                    <a:pt x="6779" y="1737"/>
                  </a:lnTo>
                  <a:cubicBezTo>
                    <a:pt x="6654" y="1858"/>
                    <a:pt x="6537" y="1991"/>
                    <a:pt x="6432" y="2137"/>
                  </a:cubicBezTo>
                  <a:lnTo>
                    <a:pt x="5871" y="1923"/>
                  </a:lnTo>
                  <a:cubicBezTo>
                    <a:pt x="5620" y="1829"/>
                    <a:pt x="5349" y="1978"/>
                    <a:pt x="5244" y="2270"/>
                  </a:cubicBezTo>
                  <a:lnTo>
                    <a:pt x="5013" y="2916"/>
                  </a:lnTo>
                  <a:cubicBezTo>
                    <a:pt x="4909" y="3207"/>
                    <a:pt x="4998" y="3547"/>
                    <a:pt x="5222" y="3709"/>
                  </a:cubicBezTo>
                  <a:lnTo>
                    <a:pt x="5734" y="4076"/>
                  </a:lnTo>
                  <a:cubicBezTo>
                    <a:pt x="5716" y="4270"/>
                    <a:pt x="5712" y="4468"/>
                    <a:pt x="5723" y="4662"/>
                  </a:cubicBezTo>
                  <a:lnTo>
                    <a:pt x="5200" y="4996"/>
                  </a:lnTo>
                  <a:cubicBezTo>
                    <a:pt x="4973" y="5144"/>
                    <a:pt x="4866" y="5474"/>
                    <a:pt x="4953" y="5769"/>
                  </a:cubicBezTo>
                  <a:lnTo>
                    <a:pt x="5162" y="6422"/>
                  </a:lnTo>
                  <a:cubicBezTo>
                    <a:pt x="5256" y="6718"/>
                    <a:pt x="5519" y="6881"/>
                    <a:pt x="5772" y="6802"/>
                  </a:cubicBezTo>
                  <a:lnTo>
                    <a:pt x="6344" y="6622"/>
                  </a:lnTo>
                  <a:cubicBezTo>
                    <a:pt x="6444" y="6773"/>
                    <a:pt x="6554" y="6913"/>
                    <a:pt x="6674" y="7041"/>
                  </a:cubicBezTo>
                  <a:lnTo>
                    <a:pt x="6504" y="7735"/>
                  </a:lnTo>
                  <a:cubicBezTo>
                    <a:pt x="6427" y="8038"/>
                    <a:pt x="6545" y="8359"/>
                    <a:pt x="6784" y="8488"/>
                  </a:cubicBezTo>
                  <a:lnTo>
                    <a:pt x="7318" y="8774"/>
                  </a:lnTo>
                  <a:cubicBezTo>
                    <a:pt x="7558" y="8903"/>
                    <a:pt x="7839" y="8796"/>
                    <a:pt x="7972" y="8521"/>
                  </a:cubicBezTo>
                  <a:lnTo>
                    <a:pt x="8274" y="7894"/>
                  </a:lnTo>
                  <a:cubicBezTo>
                    <a:pt x="8432" y="7915"/>
                    <a:pt x="8589" y="7926"/>
                    <a:pt x="8747" y="7914"/>
                  </a:cubicBezTo>
                  <a:lnTo>
                    <a:pt x="9028" y="8554"/>
                  </a:lnTo>
                  <a:cubicBezTo>
                    <a:pt x="9117" y="8759"/>
                    <a:pt x="9293" y="8888"/>
                    <a:pt x="9484" y="8887"/>
                  </a:cubicBezTo>
                  <a:cubicBezTo>
                    <a:pt x="9547" y="8888"/>
                    <a:pt x="9607" y="8875"/>
                    <a:pt x="9666" y="8847"/>
                  </a:cubicBezTo>
                  <a:lnTo>
                    <a:pt x="10210" y="8594"/>
                  </a:lnTo>
                  <a:cubicBezTo>
                    <a:pt x="10453" y="8477"/>
                    <a:pt x="10587" y="8162"/>
                    <a:pt x="10523" y="7854"/>
                  </a:cubicBezTo>
                  <a:lnTo>
                    <a:pt x="10375" y="7155"/>
                  </a:lnTo>
                  <a:cubicBezTo>
                    <a:pt x="10500" y="7031"/>
                    <a:pt x="10614" y="6895"/>
                    <a:pt x="10721" y="6748"/>
                  </a:cubicBezTo>
                  <a:lnTo>
                    <a:pt x="11288" y="6961"/>
                  </a:lnTo>
                  <a:cubicBezTo>
                    <a:pt x="11539" y="7056"/>
                    <a:pt x="11804" y="6907"/>
                    <a:pt x="11909" y="6615"/>
                  </a:cubicBezTo>
                  <a:lnTo>
                    <a:pt x="12146" y="5969"/>
                  </a:lnTo>
                  <a:cubicBezTo>
                    <a:pt x="12250" y="5678"/>
                    <a:pt x="12156" y="5338"/>
                    <a:pt x="11931" y="5175"/>
                  </a:cubicBezTo>
                  <a:lnTo>
                    <a:pt x="11425" y="4809"/>
                  </a:lnTo>
                  <a:cubicBezTo>
                    <a:pt x="11442" y="4615"/>
                    <a:pt x="11446" y="4424"/>
                    <a:pt x="11436" y="4229"/>
                  </a:cubicBezTo>
                  <a:lnTo>
                    <a:pt x="11959" y="3889"/>
                  </a:lnTo>
                  <a:cubicBezTo>
                    <a:pt x="12187" y="3739"/>
                    <a:pt x="12287" y="3404"/>
                    <a:pt x="12195" y="3110"/>
                  </a:cubicBezTo>
                  <a:lnTo>
                    <a:pt x="11986" y="2457"/>
                  </a:lnTo>
                  <a:cubicBezTo>
                    <a:pt x="11892" y="2160"/>
                    <a:pt x="11630" y="1997"/>
                    <a:pt x="11376" y="2077"/>
                  </a:cubicBezTo>
                  <a:lnTo>
                    <a:pt x="10804" y="2257"/>
                  </a:lnTo>
                  <a:cubicBezTo>
                    <a:pt x="10704" y="2105"/>
                    <a:pt x="10594" y="1965"/>
                    <a:pt x="10474" y="1837"/>
                  </a:cubicBezTo>
                  <a:lnTo>
                    <a:pt x="10650" y="1144"/>
                  </a:lnTo>
                  <a:cubicBezTo>
                    <a:pt x="10726" y="840"/>
                    <a:pt x="10604" y="519"/>
                    <a:pt x="10364" y="391"/>
                  </a:cubicBezTo>
                  <a:lnTo>
                    <a:pt x="9831" y="104"/>
                  </a:lnTo>
                  <a:cubicBezTo>
                    <a:pt x="9590" y="-24"/>
                    <a:pt x="9309" y="83"/>
                    <a:pt x="9176" y="357"/>
                  </a:cubicBezTo>
                  <a:lnTo>
                    <a:pt x="8874" y="984"/>
                  </a:lnTo>
                  <a:cubicBezTo>
                    <a:pt x="8716" y="963"/>
                    <a:pt x="8560" y="952"/>
                    <a:pt x="8401" y="964"/>
                  </a:cubicBezTo>
                  <a:lnTo>
                    <a:pt x="8120" y="331"/>
                  </a:lnTo>
                  <a:cubicBezTo>
                    <a:pt x="8059" y="191"/>
                    <a:pt x="7954" y="89"/>
                    <a:pt x="7840" y="37"/>
                  </a:cubicBezTo>
                  <a:close/>
                  <a:moveTo>
                    <a:pt x="7647" y="644"/>
                  </a:moveTo>
                  <a:lnTo>
                    <a:pt x="7928" y="1270"/>
                  </a:lnTo>
                  <a:cubicBezTo>
                    <a:pt x="8022" y="1488"/>
                    <a:pt x="8215" y="1619"/>
                    <a:pt x="8417" y="1603"/>
                  </a:cubicBezTo>
                  <a:cubicBezTo>
                    <a:pt x="8554" y="1593"/>
                    <a:pt x="8688" y="1599"/>
                    <a:pt x="8824" y="1617"/>
                  </a:cubicBezTo>
                  <a:cubicBezTo>
                    <a:pt x="9025" y="1643"/>
                    <a:pt x="9223" y="1522"/>
                    <a:pt x="9325" y="1310"/>
                  </a:cubicBezTo>
                  <a:lnTo>
                    <a:pt x="9622" y="691"/>
                  </a:lnTo>
                  <a:lnTo>
                    <a:pt x="10122" y="964"/>
                  </a:lnTo>
                  <a:lnTo>
                    <a:pt x="9952" y="1643"/>
                  </a:lnTo>
                  <a:cubicBezTo>
                    <a:pt x="9891" y="1879"/>
                    <a:pt x="9948" y="2140"/>
                    <a:pt x="10100" y="2303"/>
                  </a:cubicBezTo>
                  <a:cubicBezTo>
                    <a:pt x="10203" y="2414"/>
                    <a:pt x="10300" y="2533"/>
                    <a:pt x="10386" y="2663"/>
                  </a:cubicBezTo>
                  <a:cubicBezTo>
                    <a:pt x="10513" y="2856"/>
                    <a:pt x="10723" y="2940"/>
                    <a:pt x="10919" y="2876"/>
                  </a:cubicBezTo>
                  <a:lnTo>
                    <a:pt x="11486" y="2696"/>
                  </a:lnTo>
                  <a:lnTo>
                    <a:pt x="11684" y="3323"/>
                  </a:lnTo>
                  <a:lnTo>
                    <a:pt x="11167" y="3656"/>
                  </a:lnTo>
                  <a:cubicBezTo>
                    <a:pt x="10988" y="3771"/>
                    <a:pt x="10880" y="3997"/>
                    <a:pt x="10892" y="4243"/>
                  </a:cubicBezTo>
                  <a:cubicBezTo>
                    <a:pt x="10901" y="4410"/>
                    <a:pt x="10897" y="4583"/>
                    <a:pt x="10881" y="4749"/>
                  </a:cubicBezTo>
                  <a:cubicBezTo>
                    <a:pt x="10860" y="4992"/>
                    <a:pt x="10960" y="5224"/>
                    <a:pt x="11134" y="5349"/>
                  </a:cubicBezTo>
                  <a:lnTo>
                    <a:pt x="11640" y="5715"/>
                  </a:lnTo>
                  <a:lnTo>
                    <a:pt x="11420" y="6328"/>
                  </a:lnTo>
                  <a:lnTo>
                    <a:pt x="10864" y="6122"/>
                  </a:lnTo>
                  <a:cubicBezTo>
                    <a:pt x="10669" y="6049"/>
                    <a:pt x="10454" y="6121"/>
                    <a:pt x="10320" y="6308"/>
                  </a:cubicBezTo>
                  <a:cubicBezTo>
                    <a:pt x="10230" y="6434"/>
                    <a:pt x="10131" y="6551"/>
                    <a:pt x="10023" y="6655"/>
                  </a:cubicBezTo>
                  <a:cubicBezTo>
                    <a:pt x="9865" y="6810"/>
                    <a:pt x="9796" y="7064"/>
                    <a:pt x="9847" y="7301"/>
                  </a:cubicBezTo>
                  <a:lnTo>
                    <a:pt x="9996" y="7994"/>
                  </a:lnTo>
                  <a:lnTo>
                    <a:pt x="9484" y="8234"/>
                  </a:lnTo>
                  <a:lnTo>
                    <a:pt x="9209" y="7601"/>
                  </a:lnTo>
                  <a:cubicBezTo>
                    <a:pt x="9120" y="7395"/>
                    <a:pt x="8945" y="7268"/>
                    <a:pt x="8753" y="7268"/>
                  </a:cubicBezTo>
                  <a:lnTo>
                    <a:pt x="8720" y="7268"/>
                  </a:lnTo>
                  <a:cubicBezTo>
                    <a:pt x="8583" y="7278"/>
                    <a:pt x="8449" y="7272"/>
                    <a:pt x="8313" y="7255"/>
                  </a:cubicBezTo>
                  <a:cubicBezTo>
                    <a:pt x="8112" y="7228"/>
                    <a:pt x="7914" y="7349"/>
                    <a:pt x="7812" y="7561"/>
                  </a:cubicBezTo>
                  <a:lnTo>
                    <a:pt x="7515" y="8181"/>
                  </a:lnTo>
                  <a:lnTo>
                    <a:pt x="7010" y="7908"/>
                  </a:lnTo>
                  <a:lnTo>
                    <a:pt x="7186" y="7221"/>
                  </a:lnTo>
                  <a:cubicBezTo>
                    <a:pt x="7245" y="6986"/>
                    <a:pt x="7189" y="6732"/>
                    <a:pt x="7037" y="6568"/>
                  </a:cubicBezTo>
                  <a:cubicBezTo>
                    <a:pt x="6934" y="6458"/>
                    <a:pt x="6836" y="6339"/>
                    <a:pt x="6751" y="6208"/>
                  </a:cubicBezTo>
                  <a:cubicBezTo>
                    <a:pt x="6624" y="6016"/>
                    <a:pt x="6414" y="5932"/>
                    <a:pt x="6218" y="5995"/>
                  </a:cubicBezTo>
                  <a:lnTo>
                    <a:pt x="5651" y="6175"/>
                  </a:lnTo>
                  <a:lnTo>
                    <a:pt x="5453" y="5549"/>
                  </a:lnTo>
                  <a:cubicBezTo>
                    <a:pt x="5453" y="5549"/>
                    <a:pt x="5976" y="5215"/>
                    <a:pt x="5976" y="5215"/>
                  </a:cubicBezTo>
                  <a:cubicBezTo>
                    <a:pt x="6155" y="5100"/>
                    <a:pt x="6262" y="4868"/>
                    <a:pt x="6251" y="4622"/>
                  </a:cubicBezTo>
                  <a:cubicBezTo>
                    <a:pt x="6241" y="4455"/>
                    <a:pt x="6242" y="4289"/>
                    <a:pt x="6256" y="4123"/>
                  </a:cubicBezTo>
                  <a:cubicBezTo>
                    <a:pt x="6277" y="3880"/>
                    <a:pt x="6182" y="3647"/>
                    <a:pt x="6009" y="3523"/>
                  </a:cubicBezTo>
                  <a:lnTo>
                    <a:pt x="5497" y="3156"/>
                  </a:lnTo>
                  <a:lnTo>
                    <a:pt x="5723" y="2543"/>
                  </a:lnTo>
                  <a:lnTo>
                    <a:pt x="6284" y="2750"/>
                  </a:lnTo>
                  <a:cubicBezTo>
                    <a:pt x="6475" y="2820"/>
                    <a:pt x="6679" y="2752"/>
                    <a:pt x="6812" y="2570"/>
                  </a:cubicBezTo>
                  <a:cubicBezTo>
                    <a:pt x="6902" y="2444"/>
                    <a:pt x="7006" y="2327"/>
                    <a:pt x="7114" y="2223"/>
                  </a:cubicBezTo>
                  <a:cubicBezTo>
                    <a:pt x="7271" y="2068"/>
                    <a:pt x="7336" y="1814"/>
                    <a:pt x="7285" y="1577"/>
                  </a:cubicBezTo>
                  <a:lnTo>
                    <a:pt x="7136" y="884"/>
                  </a:lnTo>
                  <a:lnTo>
                    <a:pt x="7647" y="644"/>
                  </a:lnTo>
                  <a:close/>
                  <a:moveTo>
                    <a:pt x="8571" y="2350"/>
                  </a:moveTo>
                  <a:cubicBezTo>
                    <a:pt x="7616" y="2354"/>
                    <a:pt x="6847" y="3292"/>
                    <a:pt x="6850" y="4449"/>
                  </a:cubicBezTo>
                  <a:cubicBezTo>
                    <a:pt x="6853" y="5459"/>
                    <a:pt x="7449" y="6328"/>
                    <a:pt x="8269" y="6508"/>
                  </a:cubicBezTo>
                  <a:cubicBezTo>
                    <a:pt x="8373" y="6531"/>
                    <a:pt x="8477" y="6542"/>
                    <a:pt x="8582" y="6542"/>
                  </a:cubicBezTo>
                  <a:cubicBezTo>
                    <a:pt x="9537" y="6538"/>
                    <a:pt x="10312" y="5593"/>
                    <a:pt x="10309" y="4436"/>
                  </a:cubicBezTo>
                  <a:cubicBezTo>
                    <a:pt x="10306" y="3278"/>
                    <a:pt x="9526" y="2346"/>
                    <a:pt x="8571" y="2350"/>
                  </a:cubicBezTo>
                  <a:close/>
                  <a:moveTo>
                    <a:pt x="8577" y="2996"/>
                  </a:moveTo>
                  <a:cubicBezTo>
                    <a:pt x="8650" y="2996"/>
                    <a:pt x="8725" y="3000"/>
                    <a:pt x="8797" y="3016"/>
                  </a:cubicBezTo>
                  <a:cubicBezTo>
                    <a:pt x="9447" y="3160"/>
                    <a:pt x="9878" y="3914"/>
                    <a:pt x="9759" y="4702"/>
                  </a:cubicBezTo>
                  <a:cubicBezTo>
                    <a:pt x="9640" y="5491"/>
                    <a:pt x="9013" y="6019"/>
                    <a:pt x="8362" y="5875"/>
                  </a:cubicBezTo>
                  <a:cubicBezTo>
                    <a:pt x="7712" y="5731"/>
                    <a:pt x="7281" y="4971"/>
                    <a:pt x="7400" y="4183"/>
                  </a:cubicBezTo>
                  <a:cubicBezTo>
                    <a:pt x="7504" y="3495"/>
                    <a:pt x="8000" y="2998"/>
                    <a:pt x="8577" y="2996"/>
                  </a:cubicBezTo>
                  <a:close/>
                  <a:moveTo>
                    <a:pt x="15984" y="6455"/>
                  </a:moveTo>
                  <a:cubicBezTo>
                    <a:pt x="15735" y="6496"/>
                    <a:pt x="15520" y="6701"/>
                    <a:pt x="15429" y="7001"/>
                  </a:cubicBezTo>
                  <a:lnTo>
                    <a:pt x="15071" y="8181"/>
                  </a:lnTo>
                  <a:cubicBezTo>
                    <a:pt x="15052" y="8252"/>
                    <a:pt x="15000" y="8301"/>
                    <a:pt x="14939" y="8308"/>
                  </a:cubicBezTo>
                  <a:cubicBezTo>
                    <a:pt x="14664" y="8333"/>
                    <a:pt x="14393" y="8385"/>
                    <a:pt x="14125" y="8468"/>
                  </a:cubicBezTo>
                  <a:cubicBezTo>
                    <a:pt x="14064" y="8486"/>
                    <a:pt x="13998" y="8455"/>
                    <a:pt x="13960" y="8394"/>
                  </a:cubicBezTo>
                  <a:lnTo>
                    <a:pt x="13317" y="7421"/>
                  </a:lnTo>
                  <a:cubicBezTo>
                    <a:pt x="13099" y="7088"/>
                    <a:pt x="12709" y="6999"/>
                    <a:pt x="12410" y="7221"/>
                  </a:cubicBezTo>
                  <a:lnTo>
                    <a:pt x="11568" y="7848"/>
                  </a:lnTo>
                  <a:cubicBezTo>
                    <a:pt x="11269" y="8073"/>
                    <a:pt x="11157" y="8539"/>
                    <a:pt x="11304" y="8927"/>
                  </a:cubicBezTo>
                  <a:lnTo>
                    <a:pt x="11733" y="10054"/>
                  </a:lnTo>
                  <a:cubicBezTo>
                    <a:pt x="11760" y="10122"/>
                    <a:pt x="11751" y="10202"/>
                    <a:pt x="11711" y="10260"/>
                  </a:cubicBezTo>
                  <a:cubicBezTo>
                    <a:pt x="11529" y="10514"/>
                    <a:pt x="11369" y="10791"/>
                    <a:pt x="11227" y="11080"/>
                  </a:cubicBezTo>
                  <a:cubicBezTo>
                    <a:pt x="11195" y="11144"/>
                    <a:pt x="11135" y="11176"/>
                    <a:pt x="11073" y="11167"/>
                  </a:cubicBezTo>
                  <a:lnTo>
                    <a:pt x="10051" y="11020"/>
                  </a:lnTo>
                  <a:cubicBezTo>
                    <a:pt x="9700" y="10970"/>
                    <a:pt x="9377" y="11249"/>
                    <a:pt x="9297" y="11666"/>
                  </a:cubicBezTo>
                  <a:lnTo>
                    <a:pt x="9066" y="12833"/>
                  </a:lnTo>
                  <a:cubicBezTo>
                    <a:pt x="8985" y="13248"/>
                    <a:pt x="9170" y="13670"/>
                    <a:pt x="9501" y="13819"/>
                  </a:cubicBezTo>
                  <a:lnTo>
                    <a:pt x="10468" y="14252"/>
                  </a:lnTo>
                  <a:cubicBezTo>
                    <a:pt x="10526" y="14278"/>
                    <a:pt x="10566" y="14339"/>
                    <a:pt x="10573" y="14412"/>
                  </a:cubicBezTo>
                  <a:cubicBezTo>
                    <a:pt x="10592" y="14747"/>
                    <a:pt x="10636" y="15079"/>
                    <a:pt x="10705" y="15405"/>
                  </a:cubicBezTo>
                  <a:cubicBezTo>
                    <a:pt x="10718" y="15483"/>
                    <a:pt x="10694" y="15567"/>
                    <a:pt x="10639" y="15612"/>
                  </a:cubicBezTo>
                  <a:lnTo>
                    <a:pt x="9842" y="16385"/>
                  </a:lnTo>
                  <a:cubicBezTo>
                    <a:pt x="9570" y="16652"/>
                    <a:pt x="9503" y="17120"/>
                    <a:pt x="9682" y="17484"/>
                  </a:cubicBezTo>
                  <a:lnTo>
                    <a:pt x="10194" y="18504"/>
                  </a:lnTo>
                  <a:cubicBezTo>
                    <a:pt x="10378" y="18869"/>
                    <a:pt x="10759" y="19011"/>
                    <a:pt x="11079" y="18830"/>
                  </a:cubicBezTo>
                  <a:lnTo>
                    <a:pt x="12014" y="18304"/>
                  </a:lnTo>
                  <a:cubicBezTo>
                    <a:pt x="12069" y="18272"/>
                    <a:pt x="12132" y="18283"/>
                    <a:pt x="12179" y="18331"/>
                  </a:cubicBezTo>
                  <a:cubicBezTo>
                    <a:pt x="12386" y="18551"/>
                    <a:pt x="12608" y="18745"/>
                    <a:pt x="12844" y="18917"/>
                  </a:cubicBezTo>
                  <a:cubicBezTo>
                    <a:pt x="12898" y="18957"/>
                    <a:pt x="12929" y="19034"/>
                    <a:pt x="12921" y="19110"/>
                  </a:cubicBezTo>
                  <a:lnTo>
                    <a:pt x="12800" y="20356"/>
                  </a:lnTo>
                  <a:cubicBezTo>
                    <a:pt x="12760" y="20782"/>
                    <a:pt x="12990" y="21178"/>
                    <a:pt x="13333" y="21276"/>
                  </a:cubicBezTo>
                  <a:lnTo>
                    <a:pt x="14290" y="21556"/>
                  </a:lnTo>
                  <a:cubicBezTo>
                    <a:pt x="14343" y="21571"/>
                    <a:pt x="14396" y="21576"/>
                    <a:pt x="14450" y="21576"/>
                  </a:cubicBezTo>
                  <a:cubicBezTo>
                    <a:pt x="14742" y="21575"/>
                    <a:pt x="15004" y="21355"/>
                    <a:pt x="15104" y="21023"/>
                  </a:cubicBezTo>
                  <a:lnTo>
                    <a:pt x="15456" y="19843"/>
                  </a:lnTo>
                  <a:cubicBezTo>
                    <a:pt x="15477" y="19773"/>
                    <a:pt x="15533" y="19725"/>
                    <a:pt x="15594" y="19717"/>
                  </a:cubicBezTo>
                  <a:cubicBezTo>
                    <a:pt x="15869" y="19693"/>
                    <a:pt x="16140" y="19640"/>
                    <a:pt x="16407" y="19557"/>
                  </a:cubicBezTo>
                  <a:cubicBezTo>
                    <a:pt x="16468" y="19539"/>
                    <a:pt x="16530" y="19563"/>
                    <a:pt x="16567" y="19623"/>
                  </a:cubicBezTo>
                  <a:lnTo>
                    <a:pt x="17205" y="20610"/>
                  </a:lnTo>
                  <a:cubicBezTo>
                    <a:pt x="17422" y="20943"/>
                    <a:pt x="17813" y="21024"/>
                    <a:pt x="18112" y="20803"/>
                  </a:cubicBezTo>
                  <a:lnTo>
                    <a:pt x="18959" y="20183"/>
                  </a:lnTo>
                  <a:cubicBezTo>
                    <a:pt x="19257" y="19958"/>
                    <a:pt x="19369" y="19498"/>
                    <a:pt x="19223" y="19110"/>
                  </a:cubicBezTo>
                  <a:lnTo>
                    <a:pt x="18794" y="17971"/>
                  </a:lnTo>
                  <a:cubicBezTo>
                    <a:pt x="18768" y="17902"/>
                    <a:pt x="18776" y="17822"/>
                    <a:pt x="18816" y="17764"/>
                  </a:cubicBezTo>
                  <a:cubicBezTo>
                    <a:pt x="18996" y="17513"/>
                    <a:pt x="19159" y="17243"/>
                    <a:pt x="19300" y="16958"/>
                  </a:cubicBezTo>
                  <a:cubicBezTo>
                    <a:pt x="19333" y="16891"/>
                    <a:pt x="19390" y="16853"/>
                    <a:pt x="19454" y="16858"/>
                  </a:cubicBezTo>
                  <a:lnTo>
                    <a:pt x="20477" y="17004"/>
                  </a:lnTo>
                  <a:cubicBezTo>
                    <a:pt x="20828" y="17054"/>
                    <a:pt x="21156" y="16775"/>
                    <a:pt x="21236" y="16358"/>
                  </a:cubicBezTo>
                  <a:lnTo>
                    <a:pt x="21461" y="15192"/>
                  </a:lnTo>
                  <a:cubicBezTo>
                    <a:pt x="21543" y="14775"/>
                    <a:pt x="21358" y="14348"/>
                    <a:pt x="21027" y="14199"/>
                  </a:cubicBezTo>
                  <a:lnTo>
                    <a:pt x="20059" y="13766"/>
                  </a:lnTo>
                  <a:cubicBezTo>
                    <a:pt x="20002" y="13740"/>
                    <a:pt x="19961" y="13679"/>
                    <a:pt x="19954" y="13606"/>
                  </a:cubicBezTo>
                  <a:cubicBezTo>
                    <a:pt x="19934" y="13271"/>
                    <a:pt x="19891" y="12938"/>
                    <a:pt x="19822" y="12613"/>
                  </a:cubicBezTo>
                  <a:cubicBezTo>
                    <a:pt x="19808" y="12538"/>
                    <a:pt x="19828" y="12460"/>
                    <a:pt x="19877" y="12413"/>
                  </a:cubicBezTo>
                  <a:lnTo>
                    <a:pt x="20686" y="11640"/>
                  </a:lnTo>
                  <a:cubicBezTo>
                    <a:pt x="20958" y="11373"/>
                    <a:pt x="21026" y="10904"/>
                    <a:pt x="20845" y="10540"/>
                  </a:cubicBezTo>
                  <a:lnTo>
                    <a:pt x="20334" y="9514"/>
                  </a:lnTo>
                  <a:cubicBezTo>
                    <a:pt x="20149" y="9150"/>
                    <a:pt x="19768" y="9014"/>
                    <a:pt x="19448" y="9194"/>
                  </a:cubicBezTo>
                  <a:lnTo>
                    <a:pt x="18519" y="9720"/>
                  </a:lnTo>
                  <a:cubicBezTo>
                    <a:pt x="18464" y="9752"/>
                    <a:pt x="18395" y="9742"/>
                    <a:pt x="18349" y="9694"/>
                  </a:cubicBezTo>
                  <a:cubicBezTo>
                    <a:pt x="18141" y="9475"/>
                    <a:pt x="17919" y="9280"/>
                    <a:pt x="17683" y="9107"/>
                  </a:cubicBezTo>
                  <a:cubicBezTo>
                    <a:pt x="17628" y="9067"/>
                    <a:pt x="17603" y="8991"/>
                    <a:pt x="17612" y="8914"/>
                  </a:cubicBezTo>
                  <a:lnTo>
                    <a:pt x="17727" y="7668"/>
                  </a:lnTo>
                  <a:cubicBezTo>
                    <a:pt x="17768" y="7243"/>
                    <a:pt x="17543" y="6845"/>
                    <a:pt x="17199" y="6748"/>
                  </a:cubicBezTo>
                  <a:lnTo>
                    <a:pt x="16243" y="6468"/>
                  </a:lnTo>
                  <a:cubicBezTo>
                    <a:pt x="16157" y="6444"/>
                    <a:pt x="16067" y="6441"/>
                    <a:pt x="15984" y="6455"/>
                  </a:cubicBezTo>
                  <a:close/>
                  <a:moveTo>
                    <a:pt x="16116" y="7088"/>
                  </a:moveTo>
                  <a:lnTo>
                    <a:pt x="17073" y="7368"/>
                  </a:lnTo>
                  <a:cubicBezTo>
                    <a:pt x="17153" y="7392"/>
                    <a:pt x="17209" y="7488"/>
                    <a:pt x="17199" y="7588"/>
                  </a:cubicBezTo>
                  <a:lnTo>
                    <a:pt x="17078" y="8827"/>
                  </a:lnTo>
                  <a:cubicBezTo>
                    <a:pt x="17046" y="9155"/>
                    <a:pt x="17176" y="9475"/>
                    <a:pt x="17408" y="9647"/>
                  </a:cubicBezTo>
                  <a:cubicBezTo>
                    <a:pt x="17619" y="9800"/>
                    <a:pt x="17817" y="9978"/>
                    <a:pt x="18002" y="10174"/>
                  </a:cubicBezTo>
                  <a:cubicBezTo>
                    <a:pt x="18207" y="10389"/>
                    <a:pt x="18499" y="10434"/>
                    <a:pt x="18745" y="10294"/>
                  </a:cubicBezTo>
                  <a:lnTo>
                    <a:pt x="19674" y="9774"/>
                  </a:lnTo>
                  <a:cubicBezTo>
                    <a:pt x="19749" y="9732"/>
                    <a:pt x="19840" y="9762"/>
                    <a:pt x="19883" y="9847"/>
                  </a:cubicBezTo>
                  <a:lnTo>
                    <a:pt x="20394" y="10867"/>
                  </a:lnTo>
                  <a:cubicBezTo>
                    <a:pt x="20437" y="10953"/>
                    <a:pt x="20419" y="11062"/>
                    <a:pt x="20356" y="11127"/>
                  </a:cubicBezTo>
                  <a:lnTo>
                    <a:pt x="19553" y="11900"/>
                  </a:lnTo>
                  <a:cubicBezTo>
                    <a:pt x="19339" y="12103"/>
                    <a:pt x="19241" y="12446"/>
                    <a:pt x="19305" y="12766"/>
                  </a:cubicBezTo>
                  <a:cubicBezTo>
                    <a:pt x="19365" y="13056"/>
                    <a:pt x="19404" y="13348"/>
                    <a:pt x="19421" y="13646"/>
                  </a:cubicBezTo>
                  <a:cubicBezTo>
                    <a:pt x="19441" y="13974"/>
                    <a:pt x="19622" y="14259"/>
                    <a:pt x="19877" y="14372"/>
                  </a:cubicBezTo>
                  <a:lnTo>
                    <a:pt x="20840" y="14805"/>
                  </a:lnTo>
                  <a:cubicBezTo>
                    <a:pt x="20919" y="14839"/>
                    <a:pt x="20964" y="14939"/>
                    <a:pt x="20944" y="15038"/>
                  </a:cubicBezTo>
                  <a:lnTo>
                    <a:pt x="20719" y="16205"/>
                  </a:lnTo>
                  <a:cubicBezTo>
                    <a:pt x="20700" y="16302"/>
                    <a:pt x="20619" y="16370"/>
                    <a:pt x="20537" y="16358"/>
                  </a:cubicBezTo>
                  <a:lnTo>
                    <a:pt x="19520" y="16211"/>
                  </a:lnTo>
                  <a:cubicBezTo>
                    <a:pt x="19247" y="16175"/>
                    <a:pt x="18978" y="16338"/>
                    <a:pt x="18838" y="16625"/>
                  </a:cubicBezTo>
                  <a:cubicBezTo>
                    <a:pt x="18713" y="16881"/>
                    <a:pt x="18570" y="17119"/>
                    <a:pt x="18409" y="17344"/>
                  </a:cubicBezTo>
                  <a:cubicBezTo>
                    <a:pt x="18233" y="17594"/>
                    <a:pt x="18196" y="17946"/>
                    <a:pt x="18310" y="18244"/>
                  </a:cubicBezTo>
                  <a:lnTo>
                    <a:pt x="18739" y="19383"/>
                  </a:lnTo>
                  <a:cubicBezTo>
                    <a:pt x="18774" y="19475"/>
                    <a:pt x="18748" y="19582"/>
                    <a:pt x="18679" y="19637"/>
                  </a:cubicBezTo>
                  <a:lnTo>
                    <a:pt x="17832" y="20256"/>
                  </a:lnTo>
                  <a:cubicBezTo>
                    <a:pt x="17762" y="20307"/>
                    <a:pt x="17674" y="20293"/>
                    <a:pt x="17623" y="20217"/>
                  </a:cubicBezTo>
                  <a:lnTo>
                    <a:pt x="16985" y="19230"/>
                  </a:lnTo>
                  <a:cubicBezTo>
                    <a:pt x="16817" y="18970"/>
                    <a:pt x="16540" y="18852"/>
                    <a:pt x="16276" y="18930"/>
                  </a:cubicBezTo>
                  <a:cubicBezTo>
                    <a:pt x="16038" y="19004"/>
                    <a:pt x="15794" y="19050"/>
                    <a:pt x="15550" y="19070"/>
                  </a:cubicBezTo>
                  <a:cubicBezTo>
                    <a:pt x="15278" y="19096"/>
                    <a:pt x="15048" y="19313"/>
                    <a:pt x="14956" y="19623"/>
                  </a:cubicBezTo>
                  <a:lnTo>
                    <a:pt x="14598" y="20803"/>
                  </a:lnTo>
                  <a:cubicBezTo>
                    <a:pt x="14570" y="20897"/>
                    <a:pt x="14492" y="20944"/>
                    <a:pt x="14411" y="20923"/>
                  </a:cubicBezTo>
                  <a:lnTo>
                    <a:pt x="13454" y="20650"/>
                  </a:lnTo>
                  <a:cubicBezTo>
                    <a:pt x="13374" y="20625"/>
                    <a:pt x="13318" y="20530"/>
                    <a:pt x="13328" y="20430"/>
                  </a:cubicBezTo>
                  <a:lnTo>
                    <a:pt x="13449" y="19190"/>
                  </a:lnTo>
                  <a:cubicBezTo>
                    <a:pt x="13482" y="18862"/>
                    <a:pt x="13352" y="18542"/>
                    <a:pt x="13119" y="18371"/>
                  </a:cubicBezTo>
                  <a:cubicBezTo>
                    <a:pt x="12909" y="18216"/>
                    <a:pt x="12710" y="18040"/>
                    <a:pt x="12525" y="17844"/>
                  </a:cubicBezTo>
                  <a:cubicBezTo>
                    <a:pt x="12400" y="17713"/>
                    <a:pt x="12240" y="17637"/>
                    <a:pt x="12074" y="17637"/>
                  </a:cubicBezTo>
                  <a:cubicBezTo>
                    <a:pt x="11974" y="17638"/>
                    <a:pt x="11874" y="17666"/>
                    <a:pt x="11783" y="17717"/>
                  </a:cubicBezTo>
                  <a:lnTo>
                    <a:pt x="10853" y="18244"/>
                  </a:lnTo>
                  <a:cubicBezTo>
                    <a:pt x="10779" y="18285"/>
                    <a:pt x="10688" y="18255"/>
                    <a:pt x="10644" y="18171"/>
                  </a:cubicBezTo>
                  <a:lnTo>
                    <a:pt x="10133" y="17151"/>
                  </a:lnTo>
                  <a:cubicBezTo>
                    <a:pt x="10090" y="17065"/>
                    <a:pt x="10107" y="16955"/>
                    <a:pt x="10172" y="16891"/>
                  </a:cubicBezTo>
                  <a:lnTo>
                    <a:pt x="10974" y="16111"/>
                  </a:lnTo>
                  <a:cubicBezTo>
                    <a:pt x="11188" y="15907"/>
                    <a:pt x="11286" y="15572"/>
                    <a:pt x="11222" y="15252"/>
                  </a:cubicBezTo>
                  <a:cubicBezTo>
                    <a:pt x="11162" y="14961"/>
                    <a:pt x="11119" y="14664"/>
                    <a:pt x="11101" y="14365"/>
                  </a:cubicBezTo>
                  <a:cubicBezTo>
                    <a:pt x="11081" y="14038"/>
                    <a:pt x="10905" y="13758"/>
                    <a:pt x="10650" y="13646"/>
                  </a:cubicBezTo>
                  <a:lnTo>
                    <a:pt x="9688" y="13212"/>
                  </a:lnTo>
                  <a:cubicBezTo>
                    <a:pt x="9610" y="13176"/>
                    <a:pt x="9564" y="13078"/>
                    <a:pt x="9583" y="12979"/>
                  </a:cubicBezTo>
                  <a:lnTo>
                    <a:pt x="9814" y="11813"/>
                  </a:lnTo>
                  <a:cubicBezTo>
                    <a:pt x="9833" y="11715"/>
                    <a:pt x="9908" y="11648"/>
                    <a:pt x="9990" y="11660"/>
                  </a:cubicBezTo>
                  <a:lnTo>
                    <a:pt x="11007" y="11806"/>
                  </a:lnTo>
                  <a:cubicBezTo>
                    <a:pt x="11278" y="11847"/>
                    <a:pt x="11544" y="11690"/>
                    <a:pt x="11684" y="11406"/>
                  </a:cubicBezTo>
                  <a:cubicBezTo>
                    <a:pt x="11810" y="11150"/>
                    <a:pt x="11957" y="10906"/>
                    <a:pt x="12118" y="10680"/>
                  </a:cubicBezTo>
                  <a:cubicBezTo>
                    <a:pt x="12294" y="10430"/>
                    <a:pt x="12331" y="10079"/>
                    <a:pt x="12217" y="9780"/>
                  </a:cubicBezTo>
                  <a:lnTo>
                    <a:pt x="11788" y="8654"/>
                  </a:lnTo>
                  <a:cubicBezTo>
                    <a:pt x="11753" y="8562"/>
                    <a:pt x="11778" y="8455"/>
                    <a:pt x="11849" y="8401"/>
                  </a:cubicBezTo>
                  <a:lnTo>
                    <a:pt x="12690" y="7768"/>
                  </a:lnTo>
                  <a:cubicBezTo>
                    <a:pt x="12760" y="7716"/>
                    <a:pt x="12848" y="7737"/>
                    <a:pt x="12899" y="7814"/>
                  </a:cubicBezTo>
                  <a:lnTo>
                    <a:pt x="13542" y="8781"/>
                  </a:lnTo>
                  <a:cubicBezTo>
                    <a:pt x="13710" y="9042"/>
                    <a:pt x="13987" y="9161"/>
                    <a:pt x="14252" y="9081"/>
                  </a:cubicBezTo>
                  <a:cubicBezTo>
                    <a:pt x="14490" y="9008"/>
                    <a:pt x="14733" y="8961"/>
                    <a:pt x="14978" y="8941"/>
                  </a:cubicBezTo>
                  <a:cubicBezTo>
                    <a:pt x="15248" y="8916"/>
                    <a:pt x="15480" y="8704"/>
                    <a:pt x="15572" y="8394"/>
                  </a:cubicBezTo>
                  <a:lnTo>
                    <a:pt x="15929" y="7215"/>
                  </a:lnTo>
                  <a:cubicBezTo>
                    <a:pt x="15956" y="7120"/>
                    <a:pt x="16035" y="7064"/>
                    <a:pt x="16116" y="7088"/>
                  </a:cubicBezTo>
                  <a:close/>
                  <a:moveTo>
                    <a:pt x="5343" y="8568"/>
                  </a:moveTo>
                  <a:cubicBezTo>
                    <a:pt x="5065" y="8474"/>
                    <a:pt x="4772" y="8650"/>
                    <a:pt x="4661" y="8974"/>
                  </a:cubicBezTo>
                  <a:lnTo>
                    <a:pt x="4381" y="9794"/>
                  </a:lnTo>
                  <a:cubicBezTo>
                    <a:pt x="4376" y="9809"/>
                    <a:pt x="4367" y="9819"/>
                    <a:pt x="4354" y="9820"/>
                  </a:cubicBezTo>
                  <a:cubicBezTo>
                    <a:pt x="4154" y="9827"/>
                    <a:pt x="3955" y="9857"/>
                    <a:pt x="3760" y="9907"/>
                  </a:cubicBezTo>
                  <a:cubicBezTo>
                    <a:pt x="3745" y="9910"/>
                    <a:pt x="3729" y="9902"/>
                    <a:pt x="3721" y="9887"/>
                  </a:cubicBezTo>
                  <a:lnTo>
                    <a:pt x="3292" y="9174"/>
                  </a:lnTo>
                  <a:cubicBezTo>
                    <a:pt x="3122" y="8893"/>
                    <a:pt x="2801" y="8811"/>
                    <a:pt x="2550" y="8981"/>
                  </a:cubicBezTo>
                  <a:lnTo>
                    <a:pt x="1939" y="9394"/>
                  </a:lnTo>
                  <a:cubicBezTo>
                    <a:pt x="1688" y="9566"/>
                    <a:pt x="1581" y="9943"/>
                    <a:pt x="1692" y="10267"/>
                  </a:cubicBezTo>
                  <a:lnTo>
                    <a:pt x="1978" y="11087"/>
                  </a:lnTo>
                  <a:cubicBezTo>
                    <a:pt x="1985" y="11100"/>
                    <a:pt x="1985" y="11113"/>
                    <a:pt x="1978" y="11127"/>
                  </a:cubicBezTo>
                  <a:cubicBezTo>
                    <a:pt x="1840" y="11304"/>
                    <a:pt x="1713" y="11502"/>
                    <a:pt x="1604" y="11706"/>
                  </a:cubicBezTo>
                  <a:cubicBezTo>
                    <a:pt x="1596" y="11720"/>
                    <a:pt x="1584" y="11722"/>
                    <a:pt x="1571" y="11720"/>
                  </a:cubicBezTo>
                  <a:lnTo>
                    <a:pt x="851" y="11580"/>
                  </a:lnTo>
                  <a:cubicBezTo>
                    <a:pt x="564" y="11524"/>
                    <a:pt x="290" y="11741"/>
                    <a:pt x="213" y="12080"/>
                  </a:cubicBezTo>
                  <a:lnTo>
                    <a:pt x="20" y="12899"/>
                  </a:lnTo>
                  <a:cubicBezTo>
                    <a:pt x="-57" y="13236"/>
                    <a:pt x="89" y="13591"/>
                    <a:pt x="356" y="13726"/>
                  </a:cubicBezTo>
                  <a:lnTo>
                    <a:pt x="1027" y="14065"/>
                  </a:lnTo>
                  <a:cubicBezTo>
                    <a:pt x="1039" y="14071"/>
                    <a:pt x="1048" y="14082"/>
                    <a:pt x="1049" y="14099"/>
                  </a:cubicBezTo>
                  <a:cubicBezTo>
                    <a:pt x="1055" y="14342"/>
                    <a:pt x="1079" y="14587"/>
                    <a:pt x="1120" y="14825"/>
                  </a:cubicBezTo>
                  <a:cubicBezTo>
                    <a:pt x="1123" y="14843"/>
                    <a:pt x="1116" y="14856"/>
                    <a:pt x="1104" y="14865"/>
                  </a:cubicBezTo>
                  <a:lnTo>
                    <a:pt x="515" y="15392"/>
                  </a:lnTo>
                  <a:cubicBezTo>
                    <a:pt x="285" y="15600"/>
                    <a:pt x="218" y="15979"/>
                    <a:pt x="356" y="16285"/>
                  </a:cubicBezTo>
                  <a:lnTo>
                    <a:pt x="697" y="17031"/>
                  </a:lnTo>
                  <a:cubicBezTo>
                    <a:pt x="838" y="17337"/>
                    <a:pt x="1145" y="17466"/>
                    <a:pt x="1411" y="17331"/>
                  </a:cubicBezTo>
                  <a:lnTo>
                    <a:pt x="2088" y="16984"/>
                  </a:lnTo>
                  <a:cubicBezTo>
                    <a:pt x="2098" y="16976"/>
                    <a:pt x="2110" y="16976"/>
                    <a:pt x="2121" y="16984"/>
                  </a:cubicBezTo>
                  <a:cubicBezTo>
                    <a:pt x="2266" y="17151"/>
                    <a:pt x="2421" y="17305"/>
                    <a:pt x="2588" y="17438"/>
                  </a:cubicBezTo>
                  <a:cubicBezTo>
                    <a:pt x="2601" y="17448"/>
                    <a:pt x="2608" y="17466"/>
                    <a:pt x="2605" y="17484"/>
                  </a:cubicBezTo>
                  <a:lnTo>
                    <a:pt x="2495" y="18357"/>
                  </a:lnTo>
                  <a:cubicBezTo>
                    <a:pt x="2449" y="18703"/>
                    <a:pt x="2624" y="19041"/>
                    <a:pt x="2902" y="19137"/>
                  </a:cubicBezTo>
                  <a:lnTo>
                    <a:pt x="3573" y="19363"/>
                  </a:lnTo>
                  <a:cubicBezTo>
                    <a:pt x="3623" y="19379"/>
                    <a:pt x="3675" y="19390"/>
                    <a:pt x="3727" y="19390"/>
                  </a:cubicBezTo>
                  <a:cubicBezTo>
                    <a:pt x="3959" y="19392"/>
                    <a:pt x="4165" y="19224"/>
                    <a:pt x="4255" y="18964"/>
                  </a:cubicBezTo>
                  <a:lnTo>
                    <a:pt x="4535" y="18137"/>
                  </a:lnTo>
                  <a:cubicBezTo>
                    <a:pt x="4539" y="18122"/>
                    <a:pt x="4549" y="18112"/>
                    <a:pt x="4562" y="18111"/>
                  </a:cubicBezTo>
                  <a:cubicBezTo>
                    <a:pt x="4762" y="18103"/>
                    <a:pt x="4961" y="18073"/>
                    <a:pt x="5156" y="18024"/>
                  </a:cubicBezTo>
                  <a:cubicBezTo>
                    <a:pt x="5170" y="18021"/>
                    <a:pt x="5187" y="18030"/>
                    <a:pt x="5195" y="18044"/>
                  </a:cubicBezTo>
                  <a:lnTo>
                    <a:pt x="5624" y="18764"/>
                  </a:lnTo>
                  <a:cubicBezTo>
                    <a:pt x="5793" y="19045"/>
                    <a:pt x="6109" y="19125"/>
                    <a:pt x="6361" y="18957"/>
                  </a:cubicBezTo>
                  <a:lnTo>
                    <a:pt x="6977" y="18544"/>
                  </a:lnTo>
                  <a:cubicBezTo>
                    <a:pt x="7227" y="18371"/>
                    <a:pt x="7329" y="18000"/>
                    <a:pt x="7219" y="17677"/>
                  </a:cubicBezTo>
                  <a:lnTo>
                    <a:pt x="6944" y="16858"/>
                  </a:lnTo>
                  <a:cubicBezTo>
                    <a:pt x="6937" y="16843"/>
                    <a:pt x="6937" y="16826"/>
                    <a:pt x="6944" y="16811"/>
                  </a:cubicBezTo>
                  <a:cubicBezTo>
                    <a:pt x="7081" y="16634"/>
                    <a:pt x="7203" y="16442"/>
                    <a:pt x="7312" y="16238"/>
                  </a:cubicBezTo>
                  <a:cubicBezTo>
                    <a:pt x="7320" y="16223"/>
                    <a:pt x="7336" y="16211"/>
                    <a:pt x="7350" y="16211"/>
                  </a:cubicBezTo>
                  <a:lnTo>
                    <a:pt x="8071" y="16351"/>
                  </a:lnTo>
                  <a:cubicBezTo>
                    <a:pt x="8357" y="16407"/>
                    <a:pt x="8631" y="16190"/>
                    <a:pt x="8709" y="15851"/>
                  </a:cubicBezTo>
                  <a:lnTo>
                    <a:pt x="8896" y="15038"/>
                  </a:lnTo>
                  <a:cubicBezTo>
                    <a:pt x="8971" y="14698"/>
                    <a:pt x="8825" y="14343"/>
                    <a:pt x="8555" y="14212"/>
                  </a:cubicBezTo>
                  <a:lnTo>
                    <a:pt x="7878" y="13872"/>
                  </a:lnTo>
                  <a:cubicBezTo>
                    <a:pt x="7866" y="13866"/>
                    <a:pt x="7857" y="13849"/>
                    <a:pt x="7856" y="13832"/>
                  </a:cubicBezTo>
                  <a:cubicBezTo>
                    <a:pt x="7850" y="13589"/>
                    <a:pt x="7826" y="13351"/>
                    <a:pt x="7785" y="13113"/>
                  </a:cubicBezTo>
                  <a:cubicBezTo>
                    <a:pt x="7782" y="13095"/>
                    <a:pt x="7789" y="13076"/>
                    <a:pt x="7801" y="13066"/>
                  </a:cubicBezTo>
                  <a:lnTo>
                    <a:pt x="8395" y="12539"/>
                  </a:lnTo>
                  <a:cubicBezTo>
                    <a:pt x="8625" y="12331"/>
                    <a:pt x="8692" y="11952"/>
                    <a:pt x="8555" y="11646"/>
                  </a:cubicBezTo>
                  <a:lnTo>
                    <a:pt x="8214" y="10907"/>
                  </a:lnTo>
                  <a:cubicBezTo>
                    <a:pt x="8073" y="10600"/>
                    <a:pt x="7761" y="10471"/>
                    <a:pt x="7493" y="10607"/>
                  </a:cubicBezTo>
                  <a:lnTo>
                    <a:pt x="6823" y="10947"/>
                  </a:lnTo>
                  <a:cubicBezTo>
                    <a:pt x="6812" y="10955"/>
                    <a:pt x="6800" y="10955"/>
                    <a:pt x="6790" y="10947"/>
                  </a:cubicBezTo>
                  <a:cubicBezTo>
                    <a:pt x="6644" y="10780"/>
                    <a:pt x="6484" y="10627"/>
                    <a:pt x="6317" y="10493"/>
                  </a:cubicBezTo>
                  <a:cubicBezTo>
                    <a:pt x="6304" y="10484"/>
                    <a:pt x="6297" y="10471"/>
                    <a:pt x="6300" y="10454"/>
                  </a:cubicBezTo>
                  <a:lnTo>
                    <a:pt x="6416" y="9574"/>
                  </a:lnTo>
                  <a:cubicBezTo>
                    <a:pt x="6461" y="9228"/>
                    <a:pt x="6286" y="8897"/>
                    <a:pt x="6009" y="8801"/>
                  </a:cubicBezTo>
                  <a:lnTo>
                    <a:pt x="5343" y="8568"/>
                  </a:lnTo>
                  <a:close/>
                  <a:moveTo>
                    <a:pt x="5195" y="9181"/>
                  </a:moveTo>
                  <a:lnTo>
                    <a:pt x="5860" y="9414"/>
                  </a:lnTo>
                  <a:cubicBezTo>
                    <a:pt x="5879" y="9420"/>
                    <a:pt x="5892" y="9444"/>
                    <a:pt x="5888" y="9467"/>
                  </a:cubicBezTo>
                  <a:lnTo>
                    <a:pt x="5772" y="10340"/>
                  </a:lnTo>
                  <a:cubicBezTo>
                    <a:pt x="5737" y="10608"/>
                    <a:pt x="5834" y="10877"/>
                    <a:pt x="6020" y="11027"/>
                  </a:cubicBezTo>
                  <a:cubicBezTo>
                    <a:pt x="6161" y="11140"/>
                    <a:pt x="6297" y="11266"/>
                    <a:pt x="6421" y="11406"/>
                  </a:cubicBezTo>
                  <a:cubicBezTo>
                    <a:pt x="6584" y="11591"/>
                    <a:pt x="6821" y="11645"/>
                    <a:pt x="7026" y="11540"/>
                  </a:cubicBezTo>
                  <a:lnTo>
                    <a:pt x="7697" y="11200"/>
                  </a:lnTo>
                  <a:cubicBezTo>
                    <a:pt x="7714" y="11192"/>
                    <a:pt x="7737" y="11201"/>
                    <a:pt x="7746" y="11220"/>
                  </a:cubicBezTo>
                  <a:lnTo>
                    <a:pt x="8087" y="11960"/>
                  </a:lnTo>
                  <a:cubicBezTo>
                    <a:pt x="8097" y="11980"/>
                    <a:pt x="8092" y="12005"/>
                    <a:pt x="8076" y="12020"/>
                  </a:cubicBezTo>
                  <a:lnTo>
                    <a:pt x="7488" y="12539"/>
                  </a:lnTo>
                  <a:cubicBezTo>
                    <a:pt x="7306" y="12698"/>
                    <a:pt x="7217" y="12974"/>
                    <a:pt x="7263" y="13239"/>
                  </a:cubicBezTo>
                  <a:cubicBezTo>
                    <a:pt x="7297" y="13441"/>
                    <a:pt x="7318" y="13646"/>
                    <a:pt x="7323" y="13852"/>
                  </a:cubicBezTo>
                  <a:cubicBezTo>
                    <a:pt x="7331" y="14122"/>
                    <a:pt x="7470" y="14361"/>
                    <a:pt x="7675" y="14465"/>
                  </a:cubicBezTo>
                  <a:lnTo>
                    <a:pt x="8351" y="14805"/>
                  </a:lnTo>
                  <a:cubicBezTo>
                    <a:pt x="8370" y="14814"/>
                    <a:pt x="8379" y="14835"/>
                    <a:pt x="8373" y="14859"/>
                  </a:cubicBezTo>
                  <a:cubicBezTo>
                    <a:pt x="8373" y="14859"/>
                    <a:pt x="8186" y="15678"/>
                    <a:pt x="8186" y="15678"/>
                  </a:cubicBezTo>
                  <a:cubicBezTo>
                    <a:pt x="8181" y="15700"/>
                    <a:pt x="8161" y="15715"/>
                    <a:pt x="8142" y="15712"/>
                  </a:cubicBezTo>
                  <a:lnTo>
                    <a:pt x="7422" y="15578"/>
                  </a:lnTo>
                  <a:cubicBezTo>
                    <a:pt x="7199" y="15537"/>
                    <a:pt x="6978" y="15655"/>
                    <a:pt x="6856" y="15885"/>
                  </a:cubicBezTo>
                  <a:cubicBezTo>
                    <a:pt x="6763" y="16057"/>
                    <a:pt x="6658" y="16221"/>
                    <a:pt x="6542" y="16371"/>
                  </a:cubicBezTo>
                  <a:cubicBezTo>
                    <a:pt x="6392" y="16569"/>
                    <a:pt x="6347" y="16856"/>
                    <a:pt x="6432" y="17104"/>
                  </a:cubicBezTo>
                  <a:lnTo>
                    <a:pt x="6713" y="17924"/>
                  </a:lnTo>
                  <a:cubicBezTo>
                    <a:pt x="6721" y="17946"/>
                    <a:pt x="6713" y="17972"/>
                    <a:pt x="6696" y="17984"/>
                  </a:cubicBezTo>
                  <a:lnTo>
                    <a:pt x="6086" y="18397"/>
                  </a:lnTo>
                  <a:cubicBezTo>
                    <a:pt x="6070" y="18408"/>
                    <a:pt x="6047" y="18402"/>
                    <a:pt x="6036" y="18384"/>
                  </a:cubicBezTo>
                  <a:lnTo>
                    <a:pt x="5607" y="17664"/>
                  </a:lnTo>
                  <a:cubicBezTo>
                    <a:pt x="5477" y="17444"/>
                    <a:pt x="5254" y="17337"/>
                    <a:pt x="5035" y="17391"/>
                  </a:cubicBezTo>
                  <a:cubicBezTo>
                    <a:pt x="4869" y="17433"/>
                    <a:pt x="4699" y="17458"/>
                    <a:pt x="4529" y="17464"/>
                  </a:cubicBezTo>
                  <a:cubicBezTo>
                    <a:pt x="4307" y="17475"/>
                    <a:pt x="4114" y="17641"/>
                    <a:pt x="4029" y="17891"/>
                  </a:cubicBezTo>
                  <a:lnTo>
                    <a:pt x="3749" y="18710"/>
                  </a:lnTo>
                  <a:cubicBezTo>
                    <a:pt x="3742" y="18732"/>
                    <a:pt x="3723" y="18750"/>
                    <a:pt x="3705" y="18744"/>
                  </a:cubicBezTo>
                  <a:lnTo>
                    <a:pt x="3039" y="18510"/>
                  </a:lnTo>
                  <a:cubicBezTo>
                    <a:pt x="3020" y="18504"/>
                    <a:pt x="3008" y="18481"/>
                    <a:pt x="3012" y="18457"/>
                  </a:cubicBezTo>
                  <a:lnTo>
                    <a:pt x="3127" y="17584"/>
                  </a:lnTo>
                  <a:cubicBezTo>
                    <a:pt x="3163" y="17317"/>
                    <a:pt x="3066" y="17048"/>
                    <a:pt x="2880" y="16898"/>
                  </a:cubicBezTo>
                  <a:cubicBezTo>
                    <a:pt x="2738" y="16785"/>
                    <a:pt x="2602" y="16659"/>
                    <a:pt x="2478" y="16518"/>
                  </a:cubicBezTo>
                  <a:cubicBezTo>
                    <a:pt x="2316" y="16333"/>
                    <a:pt x="2079" y="16280"/>
                    <a:pt x="1873" y="16385"/>
                  </a:cubicBezTo>
                  <a:lnTo>
                    <a:pt x="1197" y="16724"/>
                  </a:lnTo>
                  <a:cubicBezTo>
                    <a:pt x="1179" y="16733"/>
                    <a:pt x="1162" y="16725"/>
                    <a:pt x="1153" y="16704"/>
                  </a:cubicBezTo>
                  <a:lnTo>
                    <a:pt x="812" y="15965"/>
                  </a:lnTo>
                  <a:cubicBezTo>
                    <a:pt x="803" y="15943"/>
                    <a:pt x="808" y="15920"/>
                    <a:pt x="823" y="15905"/>
                  </a:cubicBezTo>
                  <a:lnTo>
                    <a:pt x="1411" y="15385"/>
                  </a:lnTo>
                  <a:cubicBezTo>
                    <a:pt x="1593" y="15227"/>
                    <a:pt x="1682" y="14950"/>
                    <a:pt x="1637" y="14685"/>
                  </a:cubicBezTo>
                  <a:cubicBezTo>
                    <a:pt x="1602" y="14483"/>
                    <a:pt x="1582" y="14279"/>
                    <a:pt x="1576" y="14072"/>
                  </a:cubicBezTo>
                  <a:cubicBezTo>
                    <a:pt x="1569" y="13803"/>
                    <a:pt x="1430" y="13563"/>
                    <a:pt x="1225" y="13459"/>
                  </a:cubicBezTo>
                  <a:lnTo>
                    <a:pt x="548" y="13119"/>
                  </a:lnTo>
                  <a:cubicBezTo>
                    <a:pt x="530" y="13110"/>
                    <a:pt x="521" y="13089"/>
                    <a:pt x="526" y="13066"/>
                  </a:cubicBezTo>
                  <a:lnTo>
                    <a:pt x="719" y="12246"/>
                  </a:lnTo>
                  <a:cubicBezTo>
                    <a:pt x="724" y="12224"/>
                    <a:pt x="738" y="12210"/>
                    <a:pt x="757" y="12213"/>
                  </a:cubicBezTo>
                  <a:lnTo>
                    <a:pt x="1477" y="12353"/>
                  </a:lnTo>
                  <a:cubicBezTo>
                    <a:pt x="1699" y="12396"/>
                    <a:pt x="1921" y="12274"/>
                    <a:pt x="2044" y="12046"/>
                  </a:cubicBezTo>
                  <a:cubicBezTo>
                    <a:pt x="2137" y="11874"/>
                    <a:pt x="2241" y="11716"/>
                    <a:pt x="2357" y="11566"/>
                  </a:cubicBezTo>
                  <a:cubicBezTo>
                    <a:pt x="2508" y="11368"/>
                    <a:pt x="2552" y="11076"/>
                    <a:pt x="2467" y="10827"/>
                  </a:cubicBezTo>
                  <a:lnTo>
                    <a:pt x="2181" y="10014"/>
                  </a:lnTo>
                  <a:cubicBezTo>
                    <a:pt x="2175" y="9991"/>
                    <a:pt x="2186" y="9960"/>
                    <a:pt x="2203" y="9947"/>
                  </a:cubicBezTo>
                  <a:lnTo>
                    <a:pt x="2808" y="9534"/>
                  </a:lnTo>
                  <a:cubicBezTo>
                    <a:pt x="2825" y="9522"/>
                    <a:pt x="2847" y="9528"/>
                    <a:pt x="2858" y="9547"/>
                  </a:cubicBezTo>
                  <a:lnTo>
                    <a:pt x="3292" y="10260"/>
                  </a:lnTo>
                  <a:cubicBezTo>
                    <a:pt x="3423" y="10480"/>
                    <a:pt x="3645" y="10587"/>
                    <a:pt x="3864" y="10533"/>
                  </a:cubicBezTo>
                  <a:cubicBezTo>
                    <a:pt x="4030" y="10491"/>
                    <a:pt x="4200" y="10466"/>
                    <a:pt x="4370" y="10460"/>
                  </a:cubicBezTo>
                  <a:cubicBezTo>
                    <a:pt x="4593" y="10449"/>
                    <a:pt x="4787" y="10277"/>
                    <a:pt x="4870" y="10027"/>
                  </a:cubicBezTo>
                  <a:lnTo>
                    <a:pt x="5151" y="9214"/>
                  </a:lnTo>
                  <a:cubicBezTo>
                    <a:pt x="5158" y="9193"/>
                    <a:pt x="5176" y="9176"/>
                    <a:pt x="5195" y="9181"/>
                  </a:cubicBezTo>
                  <a:close/>
                  <a:moveTo>
                    <a:pt x="15264" y="10627"/>
                  </a:moveTo>
                  <a:cubicBezTo>
                    <a:pt x="13721" y="10627"/>
                    <a:pt x="12470" y="12142"/>
                    <a:pt x="12470" y="14012"/>
                  </a:cubicBezTo>
                  <a:cubicBezTo>
                    <a:pt x="12470" y="15882"/>
                    <a:pt x="13721" y="17398"/>
                    <a:pt x="15264" y="17398"/>
                  </a:cubicBezTo>
                  <a:cubicBezTo>
                    <a:pt x="16807" y="17398"/>
                    <a:pt x="18057" y="15882"/>
                    <a:pt x="18057" y="14012"/>
                  </a:cubicBezTo>
                  <a:cubicBezTo>
                    <a:pt x="18057" y="12142"/>
                    <a:pt x="16807" y="10627"/>
                    <a:pt x="15264" y="10627"/>
                  </a:cubicBezTo>
                  <a:close/>
                  <a:moveTo>
                    <a:pt x="15264" y="11273"/>
                  </a:moveTo>
                  <a:cubicBezTo>
                    <a:pt x="16513" y="11273"/>
                    <a:pt x="17529" y="12499"/>
                    <a:pt x="17529" y="14012"/>
                  </a:cubicBezTo>
                  <a:cubicBezTo>
                    <a:pt x="17529" y="15526"/>
                    <a:pt x="16513" y="16751"/>
                    <a:pt x="15264" y="16751"/>
                  </a:cubicBezTo>
                  <a:cubicBezTo>
                    <a:pt x="14015" y="16751"/>
                    <a:pt x="13004" y="15526"/>
                    <a:pt x="13004" y="14012"/>
                  </a:cubicBezTo>
                  <a:cubicBezTo>
                    <a:pt x="13004" y="12499"/>
                    <a:pt x="14015" y="11273"/>
                    <a:pt x="15264" y="11273"/>
                  </a:cubicBezTo>
                  <a:close/>
                  <a:moveTo>
                    <a:pt x="4546" y="11466"/>
                  </a:moveTo>
                  <a:cubicBezTo>
                    <a:pt x="4020" y="11439"/>
                    <a:pt x="3485" y="11654"/>
                    <a:pt x="3067" y="12120"/>
                  </a:cubicBezTo>
                  <a:cubicBezTo>
                    <a:pt x="3064" y="12123"/>
                    <a:pt x="3064" y="12129"/>
                    <a:pt x="3061" y="12133"/>
                  </a:cubicBezTo>
                  <a:cubicBezTo>
                    <a:pt x="2225" y="13069"/>
                    <a:pt x="2168" y="14651"/>
                    <a:pt x="2940" y="15665"/>
                  </a:cubicBezTo>
                  <a:cubicBezTo>
                    <a:pt x="3713" y="16679"/>
                    <a:pt x="5018" y="16741"/>
                    <a:pt x="5855" y="15805"/>
                  </a:cubicBezTo>
                  <a:cubicBezTo>
                    <a:pt x="6691" y="14869"/>
                    <a:pt x="6743" y="13287"/>
                    <a:pt x="5970" y="12273"/>
                  </a:cubicBezTo>
                  <a:cubicBezTo>
                    <a:pt x="5586" y="11766"/>
                    <a:pt x="5072" y="11494"/>
                    <a:pt x="4546" y="11466"/>
                  </a:cubicBezTo>
                  <a:close/>
                  <a:moveTo>
                    <a:pt x="4513" y="12100"/>
                  </a:moveTo>
                  <a:cubicBezTo>
                    <a:pt x="4904" y="12113"/>
                    <a:pt x="5290" y="12307"/>
                    <a:pt x="5580" y="12679"/>
                  </a:cubicBezTo>
                  <a:cubicBezTo>
                    <a:pt x="6160" y="13424"/>
                    <a:pt x="6134" y="14602"/>
                    <a:pt x="5519" y="15305"/>
                  </a:cubicBezTo>
                  <a:cubicBezTo>
                    <a:pt x="5512" y="15314"/>
                    <a:pt x="5505" y="15323"/>
                    <a:pt x="5497" y="15332"/>
                  </a:cubicBezTo>
                  <a:cubicBezTo>
                    <a:pt x="4883" y="16034"/>
                    <a:pt x="3916" y="15996"/>
                    <a:pt x="3336" y="15252"/>
                  </a:cubicBezTo>
                  <a:cubicBezTo>
                    <a:pt x="2756" y="14507"/>
                    <a:pt x="2782" y="13335"/>
                    <a:pt x="3397" y="12633"/>
                  </a:cubicBezTo>
                  <a:cubicBezTo>
                    <a:pt x="3404" y="12624"/>
                    <a:pt x="3411" y="12615"/>
                    <a:pt x="3419" y="12606"/>
                  </a:cubicBezTo>
                  <a:cubicBezTo>
                    <a:pt x="3726" y="12255"/>
                    <a:pt x="4122" y="12086"/>
                    <a:pt x="4513" y="12100"/>
                  </a:cubicBezTo>
                  <a:close/>
                </a:path>
              </a:pathLst>
            </a:custGeom>
            <a:solidFill>
              <a:srgbClr val="FFFFFF"/>
            </a:solidFill>
            <a:ln w="3175">
              <a:noFill/>
              <a:miter lim="400000"/>
            </a:ln>
          </p:spPr>
          <p:txBody>
            <a:bodyPr lIns="0" tIns="0" rIns="0" bIns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 sz="1100"/>
              </a:pPr>
              <a:endParaRPr kumimoji="0" sz="1400" b="0" i="0" u="none" strike="noStrike" kern="0" cap="none" spc="0" normalizeH="0" baseline="0" noProof="0">
                <a:ln>
                  <a:noFill/>
                </a:ln>
                <a:solidFill>
                  <a:srgbClr val="011627"/>
                </a:solidFill>
                <a:effectLst/>
                <a:uLnTx/>
                <a:uFillTx/>
                <a:latin typeface="Poppins" pitchFamily="2" charset="77"/>
                <a:ea typeface="+mn-ea"/>
                <a:cs typeface="Poppins" pitchFamily="2" charset="77"/>
              </a:endParaRPr>
            </a:p>
          </p:txBody>
        </p:sp>
      </p:grpSp>
      <p:pic>
        <p:nvPicPr>
          <p:cNvPr id="20" name="DEMO UN SIX PALAS 6">
            <a:hlinkClick r:id="" action="ppaction://media"/>
            <a:extLst>
              <a:ext uri="{FF2B5EF4-FFF2-40B4-BE49-F238E27FC236}">
                <a16:creationId xmlns:a16="http://schemas.microsoft.com/office/drawing/2014/main" id="{25B8E9D5-B91F-4F95-0C94-B77782FDB255}"/>
              </a:ext>
            </a:extLst>
          </p:cNvPr>
          <p:cNvPicPr>
            <a:picLocks noChangeAspect="1"/>
          </p:cNvPicPr>
          <p:nvPr>
            <a:audioFile r:link="rId2"/>
            <p:extLst>
              <p:ext uri="{DAA4B4D4-6D71-4841-9C94-3DE7FCFB9230}">
                <p14:media xmlns:p14="http://schemas.microsoft.com/office/powerpoint/2010/main" r:embed="rId1"/>
              </p:ext>
            </p:extLst>
          </p:nvPr>
        </p:nvPicPr>
        <p:blipFill>
          <a:blip r:embed="rId4"/>
          <a:stretch>
            <a:fillRect/>
          </a:stretch>
        </p:blipFill>
        <p:spPr>
          <a:xfrm>
            <a:off x="11116126" y="3434746"/>
            <a:ext cx="907615" cy="907615"/>
          </a:xfrm>
          <a:prstGeom prst="rect">
            <a:avLst/>
          </a:prstGeom>
        </p:spPr>
      </p:pic>
      <p:pic>
        <p:nvPicPr>
          <p:cNvPr id="29" name="Marcador de posición de imagen 28">
            <a:extLst>
              <a:ext uri="{FF2B5EF4-FFF2-40B4-BE49-F238E27FC236}">
                <a16:creationId xmlns:a16="http://schemas.microsoft.com/office/drawing/2014/main" id="{EA67BF10-6AC2-6244-9E9B-E05CFE640176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7" b="667"/>
          <a:stretch>
            <a:fillRect/>
          </a:stretch>
        </p:blipFill>
        <p:spPr/>
      </p:pic>
      <p:pic>
        <p:nvPicPr>
          <p:cNvPr id="24" name="Imagen 23">
            <a:extLst>
              <a:ext uri="{FF2B5EF4-FFF2-40B4-BE49-F238E27FC236}">
                <a16:creationId xmlns:a16="http://schemas.microsoft.com/office/drawing/2014/main" id="{512FF925-02CF-F148-942E-96675A33494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096000" y="3434745"/>
            <a:ext cx="6096000" cy="351577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32493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restart="whenNotActive" fill="hold" evtFilter="cancelBubble" nodeType="interactiveSeq">
                <p:stCondLst>
                  <p:cond evt="onClick" delay="0">
                    <p:tgtEl>
                      <p:spTgt spid="20"/>
                    </p:tgtEl>
                  </p:cond>
                </p:stCondLst>
                <p:endSync evt="end" delay="0">
                  <p:rtn val="all"/>
                </p:endSync>
                <p:childTnLst>
                  <p:par>
                    <p:cTn id="3" fill="hold">
                      <p:stCondLst>
                        <p:cond delay="0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mediacall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cmd type="call" cmd="playFrom(0.0)">
                                      <p:cBhvr>
                                        <p:cTn id="6" dur="76709" fill="hold"/>
                                        <p:tgtEl>
                                          <p:spTgt spid="20"/>
                                        </p:tgtEl>
                                      </p:cBhvr>
                                    </p:cmd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nextCondLst>
                <p:cond evt="onClick" delay="0">
                  <p:tgtEl>
                    <p:spTgt spid="20"/>
                  </p:tgtEl>
                </p:cond>
              </p:nextCondLst>
            </p:seq>
            <p:audio>
              <p:cMediaNode vol="80000">
                <p:cTn id="7" fill="hold" display="0">
                  <p:stCondLst>
                    <p:cond delay="indefinite"/>
                  </p:stCondLst>
                  <p:endCondLst>
                    <p:cond evt="onStopAudio" delay="0">
                      <p:tgtEl>
                        <p:sldTgt/>
                      </p:tgtEl>
                    </p:cond>
                  </p:endCondLst>
                </p:cTn>
                <p:tgtEl>
                  <p:spTgt spid="20"/>
                </p:tgtEl>
              </p:cMediaNode>
            </p:audio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IO_CD_LOGO_PROTECTION" val="tru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Bayer2022">
  <a:themeElements>
    <a:clrScheme name="Bayer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Bayer2022" id="{B7CCB527-75FA-4B99-915D-CAFDC39B61C9}" vid="{5CD6347D-6214-46B0-B893-50B1B3499992}"/>
    </a:ext>
  </a:extLst>
</a:theme>
</file>

<file path=ppt/theme/theme10.xml><?xml version="1.0" encoding="utf-8"?>
<a:theme xmlns:a="http://schemas.openxmlformats.org/drawingml/2006/main" name="Bayer x EM Template">
  <a:themeElements>
    <a:clrScheme name="Bayer 2023">
      <a:dk1>
        <a:srgbClr val="000000"/>
      </a:dk1>
      <a:lt1>
        <a:srgbClr val="FFFFFF"/>
      </a:lt1>
      <a:dk2>
        <a:srgbClr val="00BCFF"/>
      </a:dk2>
      <a:lt2>
        <a:srgbClr val="F5F5F5"/>
      </a:lt2>
      <a:accent1>
        <a:srgbClr val="00BCFF"/>
      </a:accent1>
      <a:accent2>
        <a:srgbClr val="89D328"/>
      </a:accent2>
      <a:accent3>
        <a:srgbClr val="3353D0"/>
      </a:accent3>
      <a:accent4>
        <a:srgbClr val="61E1E0"/>
      </a:accent4>
      <a:accent5>
        <a:srgbClr val="FC3D80"/>
      </a:accent5>
      <a:accent6>
        <a:srgbClr val="E2DBD7"/>
      </a:accent6>
      <a:hlink>
        <a:srgbClr val="00BCFF"/>
      </a:hlink>
      <a:folHlink>
        <a:srgbClr val="00BCFF"/>
      </a:folHlink>
    </a:clrScheme>
    <a:fontScheme name="Test">
      <a:majorFont>
        <a:latin typeface="Poppins-SemiBold"/>
        <a:ea typeface=""/>
        <a:cs typeface=""/>
      </a:majorFont>
      <a:minorFont>
        <a:latin typeface="Poppins-Regular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gradFill flip="none" rotWithShape="1">
            <a:gsLst>
              <a:gs pos="0">
                <a:schemeClr val="accent2"/>
              </a:gs>
              <a:gs pos="99000">
                <a:schemeClr val="tx2"/>
              </a:gs>
            </a:gsLst>
            <a:lin ang="0" scaled="1"/>
            <a:tileRect/>
          </a:gra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1.xml><?xml version="1.0" encoding="utf-8"?>
<a:theme xmlns:a="http://schemas.openxmlformats.org/drawingml/2006/main" name="MC Template // Jan 2021">
  <a:themeElements>
    <a:clrScheme name="Custom 61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404E5C"/>
      </a:accent2>
      <a:accent3>
        <a:srgbClr val="DADEE1"/>
      </a:accent3>
      <a:accent4>
        <a:srgbClr val="3FCBB6"/>
      </a:accent4>
      <a:accent5>
        <a:srgbClr val="EDF2F3"/>
      </a:accent5>
      <a:accent6>
        <a:srgbClr val="89D327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Bayer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Bayer2023" id="{E947EF9E-10F9-4E11-85E5-96F350F830D8}" vid="{B7FF86C5-4594-42DD-AA49-8251DFA93124}"/>
    </a:ext>
  </a:extLst>
</a:theme>
</file>

<file path=ppt/theme/theme5.xml><?xml version="1.0" encoding="utf-8"?>
<a:theme xmlns:a="http://schemas.openxmlformats.org/drawingml/2006/main" name="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Bayer x MC // June 2021">
  <a:themeElements>
    <a:clrScheme name="Bayer Share and Scale Colours 1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2_emTemplate // Jan 2023">
  <a:themeElements>
    <a:clrScheme name="EM X Bayer Colours 2023 1">
      <a:dk1>
        <a:srgbClr val="0A0F0D"/>
      </a:dk1>
      <a:lt1>
        <a:srgbClr val="FFFFFF"/>
      </a:lt1>
      <a:dk2>
        <a:srgbClr val="00BCFF"/>
      </a:dk2>
      <a:lt2>
        <a:srgbClr val="E3DCDB"/>
      </a:lt2>
      <a:accent1>
        <a:srgbClr val="89D328"/>
      </a:accent1>
      <a:accent2>
        <a:srgbClr val="61E1E0"/>
      </a:accent2>
      <a:accent3>
        <a:srgbClr val="00BCFF"/>
      </a:accent3>
      <a:accent4>
        <a:srgbClr val="3454D1"/>
      </a:accent4>
      <a:accent5>
        <a:srgbClr val="E3DCDB"/>
      </a:accent5>
      <a:accent6>
        <a:srgbClr val="CEC3C1"/>
      </a:accent6>
      <a:hlink>
        <a:srgbClr val="61E1E0"/>
      </a:hlink>
      <a:folHlink>
        <a:srgbClr val="61E1E0"/>
      </a:folHlink>
    </a:clrScheme>
    <a:fontScheme name="EM Fonts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6"/>
        </a:solidFill>
        <a:ln>
          <a:noFill/>
        </a:ln>
      </a:spPr>
      <a:bodyPr lIns="72000" rIns="72000" rtlCol="0" anchor="ctr"/>
      <a:lstStyle>
        <a:defPPr algn="ctr">
          <a:lnSpc>
            <a:spcPct val="110000"/>
          </a:lnSpc>
          <a:spcAft>
            <a:spcPts val="600"/>
          </a:spcAft>
          <a:defRPr sz="16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blank">
      <a:srgbClr val="FFFFFF"/>
    </a:custClr>
    <a:custClr name="Black Tint 1">
      <a:srgbClr val="3B3F3D"/>
    </a:custClr>
    <a:custClr name="Light Clay">
      <a:srgbClr val="CEC3C1"/>
    </a:custClr>
    <a:custClr name="Pink Tint 1">
      <a:srgbClr val="FD4D8B"/>
    </a:custClr>
    <a:custClr name="Turpuoise Tint 1">
      <a:srgbClr val="82E7E7"/>
    </a:custClr>
    <a:custClr name="Cerulean Tint 1">
      <a:srgbClr val="5F78DB"/>
    </a:custClr>
    <a:custClr name="Tangerine Tint 1">
      <a:srgbClr val="FBBC46"/>
    </a:custClr>
    <a:custClr name="Merlot Tint 1">
      <a:srgbClr val="944F7A"/>
    </a:custClr>
    <a:custClr name="Periwinkle Tint 1">
      <a:srgbClr val="C6C6FF"/>
    </a:custClr>
    <a:custClr name="Clay Tint 1">
      <a:srgbClr val="D8CFCE"/>
    </a:custClr>
    <a:custClr name="blank">
      <a:srgbClr val="FFFFFF"/>
    </a:custClr>
    <a:custClr name="Black Tint 2">
      <a:srgbClr val="6C6F6E"/>
    </a:custClr>
    <a:custClr name="Light Clay Tint 2">
      <a:srgbClr val="D8CFCE"/>
    </a:custClr>
    <a:custClr name="Pink Tint 2">
      <a:srgbClr val="FD6896"/>
    </a:custClr>
    <a:custClr name="Turpuoise Tint 2">
      <a:srgbClr val="A4EEEE"/>
    </a:custClr>
    <a:custClr name="Cerulean Tint 2">
      <a:srgbClr val="8B9DE5"/>
    </a:custClr>
    <a:custClr name="Tangerine Tint 2">
      <a:srgbClr val="FCCE79"/>
    </a:custClr>
    <a:custClr name="Merlot Tint 2">
      <a:srgbClr val="AF7B9B"/>
    </a:custClr>
    <a:custClr name="Periwinkle Tint 2">
      <a:srgbClr val="D4D4FF"/>
    </a:custClr>
    <a:custClr name="Clay Tint 2">
      <a:srgbClr val="E3DCDB"/>
    </a:custClr>
    <a:custClr name="blank">
      <a:srgbClr val="FFFFFF"/>
    </a:custClr>
    <a:custClr name="Black Tint 3">
      <a:srgbClr val="9D9F9E"/>
    </a:custClr>
    <a:custClr name="Light Clay Tint 3">
      <a:srgbClr val="EDE9E9"/>
    </a:custClr>
    <a:custClr name="Pink Tint 3">
      <a:srgbClr val="FE84AE"/>
    </a:custClr>
    <a:custClr name="Turpuoise Tint 3">
      <a:srgbClr val="C6F4F4"/>
    </a:custClr>
    <a:custClr name="Cerulean Tint 3">
      <a:srgbClr val="B6C2EE"/>
    </a:custClr>
    <a:custClr name="Tangerine Tint 3">
      <a:srgbClr val="FDE1AB"/>
    </a:custClr>
    <a:custClr name="Merlot Tint 3">
      <a:srgbClr val="C9A7BD"/>
    </a:custClr>
    <a:custClr name="Periwinkle Tint 3">
      <a:srgbClr val="E3E3FF"/>
    </a:custClr>
    <a:custClr name="Clay Tint 3">
      <a:srgbClr val="EDE9E9"/>
    </a:custClr>
  </a:custClrLst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3_Bayer x MC // June 2021">
  <a:themeElements>
    <a:clrScheme name="Bayer 2021 Colour Theme">
      <a:dk1>
        <a:srgbClr val="011627"/>
      </a:dk1>
      <a:lt1>
        <a:srgbClr val="FFFFFF"/>
      </a:lt1>
      <a:dk2>
        <a:srgbClr val="404E5C"/>
      </a:dk2>
      <a:lt2>
        <a:srgbClr val="E1005D"/>
      </a:lt2>
      <a:accent1>
        <a:srgbClr val="E1005D"/>
      </a:accent1>
      <a:accent2>
        <a:srgbClr val="404E5C"/>
      </a:accent2>
      <a:accent3>
        <a:srgbClr val="FF9914"/>
      </a:accent3>
      <a:accent4>
        <a:srgbClr val="89D328"/>
      </a:accent4>
      <a:accent5>
        <a:srgbClr val="EDF2F3"/>
      </a:accent5>
      <a:accent6>
        <a:srgbClr val="00BCFF"/>
      </a:accent6>
      <a:hlink>
        <a:srgbClr val="E1005D"/>
      </a:hlink>
      <a:folHlink>
        <a:srgbClr val="E1005D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9.xml><?xml version="1.0" encoding="utf-8"?>
<a:theme xmlns:a="http://schemas.openxmlformats.org/drawingml/2006/main" name="1_Bayer x MC // June 2021">
  <a:themeElements>
    <a:clrScheme name="Bayer HVA Colours">
      <a:dk1>
        <a:srgbClr val="011627"/>
      </a:dk1>
      <a:lt1>
        <a:srgbClr val="FFFFFF"/>
      </a:lt1>
      <a:dk2>
        <a:srgbClr val="404E5C"/>
      </a:dk2>
      <a:lt2>
        <a:srgbClr val="328FFF"/>
      </a:lt2>
      <a:accent1>
        <a:srgbClr val="2BFFC1"/>
      </a:accent1>
      <a:accent2>
        <a:srgbClr val="89D328"/>
      </a:accent2>
      <a:accent3>
        <a:srgbClr val="00BCFF"/>
      </a:accent3>
      <a:accent4>
        <a:srgbClr val="89D328"/>
      </a:accent4>
      <a:accent5>
        <a:srgbClr val="EDF2F3"/>
      </a:accent5>
      <a:accent6>
        <a:srgbClr val="00BCFF"/>
      </a:accent6>
      <a:hlink>
        <a:srgbClr val="2BFFC1"/>
      </a:hlink>
      <a:folHlink>
        <a:srgbClr val="328FFF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5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6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7.xml><?xml version="1.0" encoding="utf-8"?>
<a:themeOverride xmlns:a="http://schemas.openxmlformats.org/drawingml/2006/main">
  <a:clrScheme name="EM X Bayer Colours 2023 1">
    <a:dk1>
      <a:srgbClr val="0A0F0D"/>
    </a:dk1>
    <a:lt1>
      <a:srgbClr val="FFFFFF"/>
    </a:lt1>
    <a:dk2>
      <a:srgbClr val="00BCFF"/>
    </a:dk2>
    <a:lt2>
      <a:srgbClr val="E3DCDB"/>
    </a:lt2>
    <a:accent1>
      <a:srgbClr val="89D328"/>
    </a:accent1>
    <a:accent2>
      <a:srgbClr val="61E1E0"/>
    </a:accent2>
    <a:accent3>
      <a:srgbClr val="00BCFF"/>
    </a:accent3>
    <a:accent4>
      <a:srgbClr val="3454D1"/>
    </a:accent4>
    <a:accent5>
      <a:srgbClr val="E3DCDB"/>
    </a:accent5>
    <a:accent6>
      <a:srgbClr val="CEC3C1"/>
    </a:accent6>
    <a:hlink>
      <a:srgbClr val="61E1E0"/>
    </a:hlink>
    <a:folHlink>
      <a:srgbClr val="61E1E0"/>
    </a:folHlink>
  </a:clrScheme>
  <a:fontScheme name="EM Fonts">
    <a:majorFont>
      <a:latin typeface="Century Gothic"/>
      <a:ea typeface=""/>
      <a:cs typeface=""/>
    </a:majorFont>
    <a:minorFont>
      <a:latin typeface="Century Gothic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642023b6-027f-42b2-ae3f-68219e5a4115" xsi:nil="true"/>
    <lcf76f155ced4ddcb4097134ff3c332f xmlns="ddd732a4-5925-4a41-9a76-3e713d750e73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5B94F34BE25844A86FA9DAE1C52FEF1" ma:contentTypeVersion="16" ma:contentTypeDescription="Create a new document." ma:contentTypeScope="" ma:versionID="0d11d6f25eccfdb65008e43f9fc87a79">
  <xsd:schema xmlns:xsd="http://www.w3.org/2001/XMLSchema" xmlns:xs="http://www.w3.org/2001/XMLSchema" xmlns:p="http://schemas.microsoft.com/office/2006/metadata/properties" xmlns:ns2="ddd732a4-5925-4a41-9a76-3e713d750e73" xmlns:ns3="642023b6-027f-42b2-ae3f-68219e5a4115" targetNamespace="http://schemas.microsoft.com/office/2006/metadata/properties" ma:root="true" ma:fieldsID="12867037fb90038efca3950b7f6165db" ns2:_="" ns3:_="">
    <xsd:import namespace="ddd732a4-5925-4a41-9a76-3e713d750e73"/>
    <xsd:import namespace="642023b6-027f-42b2-ae3f-68219e5a4115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GenerationTime" minOccurs="0"/>
                <xsd:element ref="ns2:MediaServiceEventHashCode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LengthInSeconds" minOccurs="0"/>
                <xsd:element ref="ns2:lcf76f155ced4ddcb4097134ff3c332f" minOccurs="0"/>
                <xsd:element ref="ns3:TaxCatchAll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dd732a4-5925-4a41-9a76-3e713d750e7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GenerationTime" ma:index="12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3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0" nillable="true" ma:displayName="Length (seconds)" ma:internalName="MediaLengthInSeconds" ma:readOnly="true">
      <xsd:simpleType>
        <xsd:restriction base="dms:Unknown"/>
      </xsd:simpleType>
    </xsd:element>
    <xsd:element name="lcf76f155ced4ddcb4097134ff3c332f" ma:index="22" nillable="true" ma:taxonomy="true" ma:internalName="lcf76f155ced4ddcb4097134ff3c332f" ma:taxonomyFieldName="MediaServiceImageTags" ma:displayName="Image Tags" ma:readOnly="false" ma:fieldId="{5cf76f15-5ced-4ddc-b409-7134ff3c332f}" ma:taxonomyMulti="true" ma:sspId="cb8c6112-a551-416c-b446-07c3fc3d0d42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2023b6-027f-42b2-ae3f-68219e5a4115" elementFormDefault="qualified">
    <xsd:import namespace="http://schemas.microsoft.com/office/2006/documentManagement/types"/>
    <xsd:import namespace="http://schemas.microsoft.com/office/infopath/2007/PartnerControls"/>
    <xsd:element name="SharedWithUsers" ma:index="16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7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3" nillable="true" ma:displayName="Taxonomy Catch All Column" ma:hidden="true" ma:list="{fb23bbc7-fbbf-45f3-bf5a-f347bc23a60a}" ma:internalName="TaxCatchAll" ma:showField="CatchAllData" ma:web="642023b6-027f-42b2-ae3f-68219e5a4115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B409161F-846A-4C10-9E69-A82A45711D9D}">
  <ds:schemaRefs>
    <ds:schemaRef ds:uri="642023b6-027f-42b2-ae3f-68219e5a4115"/>
    <ds:schemaRef ds:uri="http://schemas.openxmlformats.org/package/2006/metadata/core-properties"/>
    <ds:schemaRef ds:uri="http://purl.org/dc/dcmitype/"/>
    <ds:schemaRef ds:uri="http://purl.org/dc/elements/1.1/"/>
    <ds:schemaRef ds:uri="http://www.w3.org/XML/1998/namespace"/>
    <ds:schemaRef ds:uri="http://schemas.microsoft.com/office/infopath/2007/PartnerControls"/>
    <ds:schemaRef ds:uri="http://schemas.microsoft.com/office/2006/documentManagement/types"/>
    <ds:schemaRef ds:uri="ddd732a4-5925-4a41-9a76-3e713d750e73"/>
    <ds:schemaRef ds:uri="http://schemas.microsoft.com/office/2006/metadata/properties"/>
    <ds:schemaRef ds:uri="http://purl.org/dc/terms/"/>
  </ds:schemaRefs>
</ds:datastoreItem>
</file>

<file path=customXml/itemProps2.xml><?xml version="1.0" encoding="utf-8"?>
<ds:datastoreItem xmlns:ds="http://schemas.openxmlformats.org/officeDocument/2006/customXml" ds:itemID="{E34DBA1F-0D4B-4898-AA87-1771EA4B27A1}">
  <ds:schemaRefs>
    <ds:schemaRef ds:uri="642023b6-027f-42b2-ae3f-68219e5a4115"/>
    <ds:schemaRef ds:uri="ddd732a4-5925-4a41-9a76-3e713d750e73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3.xml><?xml version="1.0" encoding="utf-8"?>
<ds:datastoreItem xmlns:ds="http://schemas.openxmlformats.org/officeDocument/2006/customXml" ds:itemID="{3C2BB7E1-7F3B-4741-BA22-30E5E778D532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853</TotalTime>
  <Words>1530</Words>
  <Application>Microsoft Macintosh PowerPoint</Application>
  <PresentationFormat>Panorámica</PresentationFormat>
  <Paragraphs>348</Paragraphs>
  <Slides>17</Slides>
  <Notes>8</Notes>
  <HiddenSlides>0</HiddenSlides>
  <MMClips>9</MMClips>
  <ScaleCrop>false</ScaleCrop>
  <HeadingPairs>
    <vt:vector size="8" baseType="variant">
      <vt:variant>
        <vt:lpstr>Fuentes usadas</vt:lpstr>
      </vt:variant>
      <vt:variant>
        <vt:i4>12</vt:i4>
      </vt:variant>
      <vt:variant>
        <vt:lpstr>Tema</vt:lpstr>
      </vt:variant>
      <vt:variant>
        <vt:i4>1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17</vt:i4>
      </vt:variant>
    </vt:vector>
  </HeadingPairs>
  <TitlesOfParts>
    <vt:vector size="41" baseType="lpstr">
      <vt:lpstr>Arial</vt:lpstr>
      <vt:lpstr>Calibri</vt:lpstr>
      <vt:lpstr>Century Gothic</vt:lpstr>
      <vt:lpstr>Georgia Pro Light</vt:lpstr>
      <vt:lpstr>Poppins</vt:lpstr>
      <vt:lpstr>Poppins ExtraLight</vt:lpstr>
      <vt:lpstr>Poppins Light</vt:lpstr>
      <vt:lpstr>Poppins SemiBold</vt:lpstr>
      <vt:lpstr>Poppins Thin</vt:lpstr>
      <vt:lpstr>Poppins-Regular</vt:lpstr>
      <vt:lpstr>Poppins-SemiBold</vt:lpstr>
      <vt:lpstr>System Font Regular</vt:lpstr>
      <vt:lpstr>Bayer2022</vt:lpstr>
      <vt:lpstr>Bayer x MC // June 2021</vt:lpstr>
      <vt:lpstr>1_Bayer x MC // June 2021</vt:lpstr>
      <vt:lpstr>Bayer2023</vt:lpstr>
      <vt:lpstr>emTemplate // Jan 2023</vt:lpstr>
      <vt:lpstr>2_Bayer x MC // June 2021</vt:lpstr>
      <vt:lpstr>2_emTemplate // Jan 2023</vt:lpstr>
      <vt:lpstr>3_Bayer x MC // June 2021</vt:lpstr>
      <vt:lpstr>1_Bayer x MC // June 2021</vt:lpstr>
      <vt:lpstr>Bayer x EM Template</vt:lpstr>
      <vt:lpstr>MC Template // Jan 2021</vt:lpstr>
      <vt:lpstr>think-cell Slide</vt:lpstr>
      <vt:lpstr>Presentación de PowerPoint</vt:lpstr>
      <vt:lpstr>Presentación de PowerPoint</vt:lpstr>
      <vt:lpstr>MEDIA MIX</vt:lpstr>
      <vt:lpstr>MEDIA MIX</vt:lpstr>
      <vt:lpstr>Presentación de PowerPoint</vt:lpstr>
      <vt:lpstr>Curvas de alcance TV, P18a44</vt:lpstr>
      <vt:lpstr>Televisión Patrocinio de El clima</vt:lpstr>
      <vt:lpstr>Televisión Patrocinio en La Voz del Pueblo</vt:lpstr>
      <vt:lpstr>Televisión Patrocinio Eventos</vt:lpstr>
      <vt:lpstr>Presentación de PowerPoint</vt:lpstr>
      <vt:lpstr>Presentación de PowerPoint</vt:lpstr>
      <vt:lpstr>Radio Segmento/patrocinio</vt:lpstr>
      <vt:lpstr>Exteriores Pantallas digitales</vt:lpstr>
      <vt:lpstr>Digital Non-programmatic</vt:lpstr>
      <vt:lpstr>Digital Influencers</vt:lpstr>
      <vt:lpstr>Televisión Deportes : Patrocinio de  “El estado del tiempo”</vt:lpstr>
      <vt:lpstr>BTL Vuelta ciclística infantile – El Heraldo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Lourdes Hernandez</dc:creator>
  <cp:lastModifiedBy>Microsoft Office User</cp:lastModifiedBy>
  <cp:revision>40</cp:revision>
  <dcterms:created xsi:type="dcterms:W3CDTF">2023-05-24T18:22:33Z</dcterms:created>
  <dcterms:modified xsi:type="dcterms:W3CDTF">2024-11-25T17:15:3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5B94F34BE25844A86FA9DAE1C52FEF1</vt:lpwstr>
  </property>
  <property fmtid="{D5CDD505-2E9C-101B-9397-08002B2CF9AE}" pid="3" name="MediaServiceImageTags">
    <vt:lpwstr/>
  </property>
</Properties>
</file>